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3.xml" ContentType="application/vnd.openxmlformats-officedocument.presentationml.notesSlide+xml"/>
  <Override PartName="/ppt/tags/tag22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34" r:id="rId1"/>
  </p:sldMasterIdLst>
  <p:notesMasterIdLst>
    <p:notesMasterId r:id="rId16"/>
  </p:notesMasterIdLst>
  <p:handoutMasterIdLst>
    <p:handoutMasterId r:id="rId17"/>
  </p:handoutMasterIdLst>
  <p:sldIdLst>
    <p:sldId id="1060" r:id="rId2"/>
    <p:sldId id="1068" r:id="rId3"/>
    <p:sldId id="1069" r:id="rId4"/>
    <p:sldId id="1052" r:id="rId5"/>
    <p:sldId id="1074" r:id="rId6"/>
    <p:sldId id="1073" r:id="rId7"/>
    <p:sldId id="1081" r:id="rId8"/>
    <p:sldId id="1061" r:id="rId9"/>
    <p:sldId id="1080" r:id="rId10"/>
    <p:sldId id="1056" r:id="rId11"/>
    <p:sldId id="1057" r:id="rId12"/>
    <p:sldId id="1055" r:id="rId13"/>
    <p:sldId id="1053" r:id="rId14"/>
    <p:sldId id="1070" r:id="rId15"/>
  </p:sldIdLst>
  <p:sldSz cx="12188825" cy="6858000"/>
  <p:notesSz cx="7010400" cy="92964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ocaladm" initials="L" lastIdx="4" clrIdx="0"/>
  <p:cmAuthor id="1" name="Smita Premkumar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8F18"/>
    <a:srgbClr val="DE7322"/>
    <a:srgbClr val="156E75"/>
    <a:srgbClr val="095A87"/>
    <a:srgbClr val="A50021"/>
    <a:srgbClr val="009999"/>
    <a:srgbClr val="0099CC"/>
    <a:srgbClr val="6798B3"/>
    <a:srgbClr val="29384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8" autoAdjust="0"/>
    <p:restoredTop sz="86464" autoAdjust="0"/>
  </p:normalViewPr>
  <p:slideViewPr>
    <p:cSldViewPr snapToGrid="0">
      <p:cViewPr varScale="1">
        <p:scale>
          <a:sx n="94" d="100"/>
          <a:sy n="94" d="100"/>
        </p:scale>
        <p:origin x="1242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9" d="100"/>
          <a:sy n="59" d="100"/>
        </p:scale>
        <p:origin x="2376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EF30C1-8146-914C-9F41-3D328D206EF3}" type="datetimeFigureOut">
              <a:rPr lang="en-US" smtClean="0">
                <a:latin typeface="Arial"/>
              </a:rPr>
              <a:t>3/12/2018</a:t>
            </a:fld>
            <a:endParaRPr lang="en-US" dirty="0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DB3300-1B5E-B648-B4C5-16A7DCDA23A4}" type="slidenum">
              <a:rPr lang="en-US" smtClean="0">
                <a:latin typeface="Arial"/>
              </a:rPr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82930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B8A6408C-BE6B-4B4E-BE38-5741D8B9C27B}" type="datetimeFigureOut">
              <a:rPr lang="en-US" smtClean="0"/>
              <a:pPr/>
              <a:t>3/1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6913"/>
            <a:ext cx="61944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3C72B28E-CA0B-364C-BDC1-6279DD2B80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29667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Goo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fterno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rom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> Ladies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Gentlemen, The Future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olesa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marketing</a:t>
            </a:r>
            <a:r>
              <a:rPr lang="de-DE" baseline="0" dirty="0" smtClean="0"/>
              <a:t> – </a:t>
            </a:r>
            <a:r>
              <a:rPr lang="de-DE" baseline="0" dirty="0" err="1" smtClean="0"/>
              <a:t>Omni</a:t>
            </a:r>
            <a:r>
              <a:rPr lang="de-DE" baseline="0" dirty="0" smtClean="0"/>
              <a:t> Channel – so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edic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utu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olesa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e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k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on a </a:t>
            </a:r>
            <a:r>
              <a:rPr lang="de-DE" baseline="0" dirty="0" err="1" smtClean="0"/>
              <a:t>litt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tai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journey</a:t>
            </a:r>
            <a:r>
              <a:rPr lang="de-DE" baseline="0" dirty="0" smtClean="0"/>
              <a:t> …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2565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appening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tai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rom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ld</a:t>
            </a:r>
            <a:r>
              <a:rPr lang="de-DE" baseline="0" dirty="0" smtClean="0"/>
              <a:t> Single </a:t>
            </a:r>
            <a:r>
              <a:rPr lang="de-DE" baseline="0" dirty="0" err="1" smtClean="0"/>
              <a:t>channe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mmerc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o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v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to</a:t>
            </a:r>
            <a:r>
              <a:rPr lang="de-DE" baseline="0" dirty="0" smtClean="0"/>
              <a:t> an </a:t>
            </a:r>
            <a:r>
              <a:rPr lang="de-DE" baseline="0" dirty="0" err="1" smtClean="0"/>
              <a:t>omnichanne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orld</a:t>
            </a:r>
            <a:r>
              <a:rPr lang="de-DE" baseline="0" dirty="0" smtClean="0"/>
              <a:t> – </a:t>
            </a:r>
            <a:r>
              <a:rPr lang="de-DE" baseline="0" dirty="0" err="1" smtClean="0"/>
              <a:t>well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guess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have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shor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xamp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… </a:t>
            </a:r>
            <a:r>
              <a:rPr lang="de-DE" baseline="0" dirty="0" err="1" smtClean="0"/>
              <a:t>holida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e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d</a:t>
            </a:r>
            <a:r>
              <a:rPr lang="de-DE" baseline="0" dirty="0" smtClean="0"/>
              <a:t>…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4085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Ultimatly</a:t>
            </a:r>
            <a:r>
              <a:rPr lang="de-DE" baseline="0" dirty="0" smtClean="0"/>
              <a:t> all </a:t>
            </a:r>
            <a:r>
              <a:rPr lang="de-DE" baseline="0" dirty="0" err="1" smtClean="0"/>
              <a:t>y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fer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eed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ou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ients</a:t>
            </a:r>
            <a:r>
              <a:rPr lang="de-DE" baseline="0" dirty="0" smtClean="0"/>
              <a:t> at </a:t>
            </a:r>
            <a:r>
              <a:rPr lang="de-DE" baseline="0" dirty="0" err="1" smtClean="0"/>
              <a:t>any</a:t>
            </a:r>
            <a:r>
              <a:rPr lang="de-DE" baseline="0" dirty="0" smtClean="0"/>
              <a:t> time in multiple </a:t>
            </a:r>
            <a:r>
              <a:rPr lang="de-DE" baseline="0" dirty="0" err="1" smtClean="0"/>
              <a:t>channels</a:t>
            </a:r>
            <a:r>
              <a:rPr lang="de-DE" baseline="0" dirty="0" smtClean="0"/>
              <a:t>…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2733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O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might</a:t>
            </a:r>
            <a:r>
              <a:rPr lang="de-DE" dirty="0" smtClean="0"/>
              <a:t> </a:t>
            </a:r>
            <a:r>
              <a:rPr lang="de-DE" dirty="0" err="1" smtClean="0"/>
              <a:t>wan</a:t>
            </a:r>
            <a:r>
              <a:rPr lang="de-DE" baseline="0" dirty="0" err="1" smtClean="0"/>
              <a:t>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in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marke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lac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llow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variou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ducts</a:t>
            </a:r>
            <a:r>
              <a:rPr lang="de-DE" baseline="0" dirty="0" smtClean="0"/>
              <a:t> at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same time all at </a:t>
            </a:r>
            <a:r>
              <a:rPr lang="de-DE" baseline="0" dirty="0" err="1" smtClean="0"/>
              <a:t>hand</a:t>
            </a:r>
            <a:r>
              <a:rPr lang="de-DE" baseline="0" dirty="0" smtClean="0"/>
              <a:t>… </a:t>
            </a:r>
            <a:r>
              <a:rPr lang="de-DE" baseline="0" dirty="0" err="1" smtClean="0"/>
              <a:t>us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formation</a:t>
            </a:r>
            <a:r>
              <a:rPr lang="de-DE" baseline="0" dirty="0" smtClean="0"/>
              <a:t> on </a:t>
            </a:r>
            <a:r>
              <a:rPr lang="de-DE" baseline="0" dirty="0" err="1" smtClean="0"/>
              <a:t>y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lien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ublish</a:t>
            </a:r>
            <a:r>
              <a:rPr lang="de-DE" baseline="0" dirty="0" smtClean="0"/>
              <a:t> relevant </a:t>
            </a:r>
            <a:r>
              <a:rPr lang="de-DE" baseline="0" dirty="0" err="1" smtClean="0"/>
              <a:t>offers</a:t>
            </a:r>
            <a:r>
              <a:rPr lang="de-DE" baseline="0" dirty="0" smtClean="0"/>
              <a:t>…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7963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If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do not </a:t>
            </a:r>
            <a:r>
              <a:rPr lang="de-DE" dirty="0" err="1" smtClean="0"/>
              <a:t>belie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an</a:t>
            </a:r>
            <a:r>
              <a:rPr lang="de-DE" baseline="0" dirty="0" smtClean="0"/>
              <a:t> happen … </a:t>
            </a:r>
            <a:r>
              <a:rPr lang="de-DE" baseline="0" dirty="0" err="1" smtClean="0"/>
              <a:t>look</a:t>
            </a:r>
            <a:r>
              <a:rPr lang="de-DE" baseline="0" dirty="0" smtClean="0"/>
              <a:t> at </a:t>
            </a:r>
            <a:r>
              <a:rPr lang="de-DE" baseline="0" dirty="0" err="1" smtClean="0"/>
              <a:t>what</a:t>
            </a:r>
            <a:r>
              <a:rPr lang="de-DE" baseline="0" dirty="0" smtClean="0"/>
              <a:t> Amazon </a:t>
            </a:r>
            <a:r>
              <a:rPr lang="de-DE" baseline="0" dirty="0" err="1" smtClean="0"/>
              <a:t>ha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o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Retail </a:t>
            </a:r>
            <a:r>
              <a:rPr lang="de-DE" baseline="0" dirty="0" err="1" smtClean="0"/>
              <a:t>industr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e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rke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apitaliza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5892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atten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let</a:t>
            </a:r>
            <a:r>
              <a:rPr lang="de-DE" dirty="0" smtClean="0"/>
              <a:t> </a:t>
            </a:r>
            <a:r>
              <a:rPr lang="de-DE" dirty="0" err="1" smtClean="0"/>
              <a:t>me</a:t>
            </a:r>
            <a:r>
              <a:rPr lang="de-DE" dirty="0" smtClean="0"/>
              <a:t> </a:t>
            </a:r>
            <a:r>
              <a:rPr lang="de-DE" dirty="0" err="1" smtClean="0"/>
              <a:t>clo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shor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ateme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orld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reate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cto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ca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el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a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i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yself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coup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im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ue</a:t>
            </a:r>
            <a:r>
              <a:rPr lang="de-DE" baseline="0" dirty="0" smtClean="0"/>
              <a:t>… </a:t>
            </a:r>
            <a:r>
              <a:rPr lang="de-DE" baseline="0" dirty="0" err="1" smtClean="0"/>
              <a:t>i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a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hang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utu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olesa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marketing</a:t>
            </a:r>
            <a:r>
              <a:rPr lang="de-DE" baseline="0" dirty="0" smtClean="0"/>
              <a:t> … </a:t>
            </a:r>
            <a:r>
              <a:rPr lang="de-DE" baseline="0" dirty="0" err="1" smtClean="0"/>
              <a:t>tal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bou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f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cre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dea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k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m</a:t>
            </a:r>
            <a:r>
              <a:rPr lang="de-DE" baseline="0" smtClean="0"/>
              <a:t> happen!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4004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You</a:t>
            </a:r>
            <a:r>
              <a:rPr lang="de-DE" dirty="0" smtClean="0"/>
              <a:t> all </a:t>
            </a:r>
            <a:r>
              <a:rPr lang="de-DE" dirty="0" err="1" smtClean="0"/>
              <a:t>are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thin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w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ef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d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is</a:t>
            </a:r>
            <a:r>
              <a:rPr lang="de-DE" baseline="0" dirty="0" smtClean="0"/>
              <a:t> page-</a:t>
            </a:r>
            <a:r>
              <a:rPr lang="de-DE" baseline="0" dirty="0" err="1" smtClean="0"/>
              <a:t>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if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ett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echnologiz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aily</a:t>
            </a:r>
            <a:r>
              <a:rPr lang="de-DE" baseline="0" dirty="0" smtClean="0"/>
              <a:t> at an </a:t>
            </a:r>
            <a:r>
              <a:rPr lang="de-DE" baseline="0" dirty="0" err="1" smtClean="0"/>
              <a:t>ev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creas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peed</a:t>
            </a:r>
            <a:r>
              <a:rPr lang="de-DE" baseline="0" dirty="0" smtClean="0"/>
              <a:t>. Key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all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xpereinc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nvinienc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fer</a:t>
            </a:r>
            <a:r>
              <a:rPr lang="de-DE" baseline="0" dirty="0" smtClean="0"/>
              <a:t> – </a:t>
            </a:r>
            <a:r>
              <a:rPr lang="de-DE" baseline="0" dirty="0" err="1" smtClean="0"/>
              <a:t>gett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fer</a:t>
            </a:r>
            <a:r>
              <a:rPr lang="de-DE" baseline="0" dirty="0" smtClean="0"/>
              <a:t> at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time at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ic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ey</a:t>
            </a:r>
            <a:r>
              <a:rPr lang="de-DE" baseline="0" dirty="0" smtClean="0"/>
              <a:t>…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modern </a:t>
            </a:r>
            <a:r>
              <a:rPr lang="de-DE" baseline="0" dirty="0" err="1" smtClean="0"/>
              <a:t>track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echnolog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ossib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dentif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eople</a:t>
            </a:r>
            <a:r>
              <a:rPr lang="de-DE" baseline="0" dirty="0" smtClean="0"/>
              <a:t> on </a:t>
            </a:r>
            <a:r>
              <a:rPr lang="de-DE" baseline="0" dirty="0" err="1" smtClean="0"/>
              <a:t>thei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jourey</a:t>
            </a:r>
            <a:r>
              <a:rPr lang="de-DE" baseline="0" dirty="0" smtClean="0"/>
              <a:t>  -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same will </a:t>
            </a:r>
            <a:r>
              <a:rPr lang="de-DE" baseline="0" dirty="0" err="1" smtClean="0"/>
              <a:t>ha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olesales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uture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4079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e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ook</a:t>
            </a:r>
            <a:r>
              <a:rPr lang="de-DE" baseline="0" dirty="0" smtClean="0"/>
              <a:t> at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unne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om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e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igur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a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evelopmen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ere</a:t>
            </a:r>
            <a:r>
              <a:rPr lang="de-DE" baseline="0" dirty="0" smtClean="0"/>
              <a:t> … 40%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eop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earch</a:t>
            </a:r>
            <a:r>
              <a:rPr lang="de-DE" baseline="0" dirty="0" smtClean="0"/>
              <a:t> online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Coupons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deem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m</a:t>
            </a:r>
            <a:r>
              <a:rPr lang="de-DE" baseline="0" dirty="0" smtClean="0"/>
              <a:t> – 1/3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all </a:t>
            </a:r>
            <a:r>
              <a:rPr lang="de-DE" baseline="0" dirty="0" err="1" smtClean="0"/>
              <a:t>purchases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n</a:t>
            </a:r>
            <a:r>
              <a:rPr lang="de-DE" baseline="0" dirty="0" smtClean="0"/>
              <a:t> half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llenial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a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fluenc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ocia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dia</a:t>
            </a:r>
            <a:r>
              <a:rPr lang="de-DE" baseline="0" dirty="0" smtClean="0"/>
              <a:t>… </a:t>
            </a:r>
            <a:r>
              <a:rPr lang="de-DE" baseline="0" dirty="0" err="1" smtClean="0"/>
              <a:t>Consume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ll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a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re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hipp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ods</a:t>
            </a:r>
            <a:r>
              <a:rPr lang="de-DE" baseline="0" dirty="0" smtClean="0"/>
              <a:t>…but 50% </a:t>
            </a:r>
            <a:r>
              <a:rPr lang="de-DE" baseline="0" dirty="0" err="1" smtClean="0"/>
              <a:t>abondon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baske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eliver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a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r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engh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a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dicated</a:t>
            </a:r>
            <a:r>
              <a:rPr lang="de-DE" baseline="0" dirty="0" smtClean="0"/>
              <a:t>… I </a:t>
            </a:r>
            <a:r>
              <a:rPr lang="de-DE" baseline="0" dirty="0" err="1" smtClean="0"/>
              <a:t>don‘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a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k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ru</a:t>
            </a:r>
            <a:r>
              <a:rPr lang="de-DE" baseline="0" dirty="0" smtClean="0"/>
              <a:t> all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umbe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ow</a:t>
            </a:r>
            <a:r>
              <a:rPr lang="de-DE" baseline="0" dirty="0" smtClean="0"/>
              <a:t> – but I </a:t>
            </a:r>
            <a:r>
              <a:rPr lang="de-DE" baseline="0" dirty="0" err="1" smtClean="0"/>
              <a:t>gues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e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eeling</a:t>
            </a:r>
            <a:r>
              <a:rPr lang="de-DE" baseline="0" dirty="0" smtClean="0"/>
              <a:t>…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5282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Here</a:t>
            </a:r>
            <a:r>
              <a:rPr lang="de-DE" baseline="0" dirty="0" smtClean="0"/>
              <a:t> an </a:t>
            </a:r>
            <a:r>
              <a:rPr lang="de-DE" baseline="0" dirty="0" err="1" smtClean="0"/>
              <a:t>updat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lid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igh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oo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amilia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I will not </a:t>
            </a:r>
            <a:r>
              <a:rPr lang="de-DE" baseline="0" dirty="0" err="1" smtClean="0"/>
              <a:t>both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umbe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all </a:t>
            </a:r>
            <a:r>
              <a:rPr lang="de-DE" baseline="0" dirty="0" err="1" smtClean="0"/>
              <a:t>no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av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e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while</a:t>
            </a:r>
            <a:r>
              <a:rPr lang="de-DE" baseline="0" dirty="0" smtClean="0"/>
              <a:t> but </a:t>
            </a:r>
            <a:r>
              <a:rPr lang="de-DE" baseline="0" dirty="0" err="1" smtClean="0"/>
              <a:t>lets</a:t>
            </a:r>
            <a:r>
              <a:rPr lang="de-DE" baseline="0" dirty="0" smtClean="0"/>
              <a:t> pick out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e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nes</a:t>
            </a:r>
            <a:r>
              <a:rPr lang="de-DE" baseline="0" dirty="0" smtClean="0"/>
              <a:t>… Snap Chat …1.8 </a:t>
            </a:r>
            <a:r>
              <a:rPr lang="de-DE" baseline="0" dirty="0" err="1" smtClean="0"/>
              <a:t>Mi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naps</a:t>
            </a:r>
            <a:r>
              <a:rPr lang="de-DE" baseline="0" dirty="0" smtClean="0"/>
              <a:t> in </a:t>
            </a:r>
            <a:r>
              <a:rPr lang="de-DE" baseline="0" dirty="0" err="1" smtClean="0"/>
              <a:t>o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inute</a:t>
            </a:r>
            <a:r>
              <a:rPr lang="de-DE" baseline="0" dirty="0" smtClean="0"/>
              <a:t>…I still </a:t>
            </a:r>
            <a:r>
              <a:rPr lang="de-DE" baseline="0" dirty="0" err="1" smtClean="0"/>
              <a:t>haven‘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igur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aszina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hi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u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e</a:t>
            </a:r>
            <a:r>
              <a:rPr lang="de-DE" baseline="0" dirty="0" smtClean="0"/>
              <a:t> i </a:t>
            </a:r>
            <a:r>
              <a:rPr lang="de-DE" baseline="0" dirty="0" err="1" smtClean="0"/>
              <a:t>tried</a:t>
            </a:r>
            <a:r>
              <a:rPr lang="de-DE" baseline="0" dirty="0" smtClean="0"/>
              <a:t>… 50 Voice First Devices </a:t>
            </a:r>
            <a:r>
              <a:rPr lang="de-DE" baseline="0" dirty="0" err="1" smtClean="0"/>
              <a:t>ge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hipped</a:t>
            </a:r>
            <a:r>
              <a:rPr lang="de-DE" baseline="0" dirty="0" smtClean="0"/>
              <a:t> per </a:t>
            </a:r>
            <a:r>
              <a:rPr lang="de-DE" baseline="0" dirty="0" err="1" smtClean="0"/>
              <a:t>minute</a:t>
            </a:r>
            <a:r>
              <a:rPr lang="de-DE" baseline="0" dirty="0" smtClean="0"/>
              <a:t>…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at</a:t>
            </a:r>
            <a:r>
              <a:rPr lang="de-DE" baseline="0" dirty="0" smtClean="0"/>
              <a:t> ist </a:t>
            </a:r>
            <a:r>
              <a:rPr lang="de-DE" baseline="0" dirty="0" err="1" smtClean="0"/>
              <a:t>worht</a:t>
            </a:r>
            <a:r>
              <a:rPr lang="de-DE" baseline="0" dirty="0" smtClean="0"/>
              <a:t> 990 000 </a:t>
            </a:r>
            <a:r>
              <a:rPr lang="de-DE" baseline="0" dirty="0" err="1" smtClean="0"/>
              <a:t>swipes</a:t>
            </a:r>
            <a:r>
              <a:rPr lang="de-DE" baseline="0" dirty="0" smtClean="0"/>
              <a:t> on </a:t>
            </a:r>
            <a:r>
              <a:rPr lang="de-DE" baseline="0" dirty="0" err="1" smtClean="0"/>
              <a:t>Tind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appening</a:t>
            </a:r>
            <a:r>
              <a:rPr lang="de-DE" baseline="0" dirty="0" smtClean="0"/>
              <a:t>…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14727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Simplification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a </a:t>
            </a:r>
            <a:r>
              <a:rPr lang="de-DE" dirty="0" err="1" smtClean="0"/>
              <a:t>key</a:t>
            </a:r>
            <a:r>
              <a:rPr lang="de-DE" dirty="0" smtClean="0"/>
              <a:t> – </a:t>
            </a:r>
            <a:r>
              <a:rPr lang="de-DE" dirty="0" err="1" smtClean="0"/>
              <a:t>accord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Global Brand </a:t>
            </a:r>
            <a:r>
              <a:rPr lang="de-DE" baseline="0" dirty="0" err="1" smtClean="0"/>
              <a:t>Simplicity</a:t>
            </a:r>
            <a:r>
              <a:rPr lang="de-DE" baseline="0" dirty="0" smtClean="0"/>
              <a:t> Index 64 %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nsume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ll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a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implicity</a:t>
            </a:r>
            <a:r>
              <a:rPr lang="de-DE" baseline="0" dirty="0" smtClean="0"/>
              <a:t> – </a:t>
            </a:r>
            <a:r>
              <a:rPr lang="de-DE" baseline="0" dirty="0" err="1" smtClean="0"/>
              <a:t>the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v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ut</a:t>
            </a:r>
            <a:r>
              <a:rPr lang="de-DE" baseline="0" dirty="0" smtClean="0"/>
              <a:t> a </a:t>
            </a:r>
            <a:r>
              <a:rPr lang="de-DE" baseline="0" dirty="0" err="1" smtClean="0"/>
              <a:t>number</a:t>
            </a:r>
            <a:r>
              <a:rPr lang="de-DE" baseline="0" dirty="0" smtClean="0"/>
              <a:t> on </a:t>
            </a:r>
            <a:r>
              <a:rPr lang="de-DE" baseline="0" dirty="0" err="1" smtClean="0"/>
              <a:t>th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con</a:t>
            </a:r>
            <a:r>
              <a:rPr lang="de-DE" baseline="0" dirty="0" smtClean="0"/>
              <a:t> 86 Billion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eft</a:t>
            </a:r>
            <a:r>
              <a:rPr lang="de-DE" baseline="0" dirty="0" smtClean="0"/>
              <a:t> on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ab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mpani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mplicated</a:t>
            </a:r>
            <a:r>
              <a:rPr lang="de-DE" baseline="0" dirty="0" smtClean="0"/>
              <a:t>…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899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O </a:t>
            </a:r>
            <a:r>
              <a:rPr lang="de-DE" dirty="0" err="1" smtClean="0"/>
              <a:t>how</a:t>
            </a:r>
            <a:r>
              <a:rPr lang="de-DE" dirty="0" smtClean="0"/>
              <a:t> do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od</a:t>
            </a:r>
            <a:r>
              <a:rPr lang="de-DE" dirty="0" smtClean="0"/>
              <a:t> </a:t>
            </a:r>
            <a:r>
              <a:rPr lang="de-DE" dirty="0" err="1" smtClean="0"/>
              <a:t>this</a:t>
            </a:r>
            <a:r>
              <a:rPr lang="de-DE" dirty="0" smtClean="0"/>
              <a:t> …. </a:t>
            </a:r>
            <a:r>
              <a:rPr lang="de-DE" dirty="0" err="1" smtClean="0"/>
              <a:t>Its</a:t>
            </a:r>
            <a:r>
              <a:rPr lang="de-DE" baseline="0" dirty="0" smtClean="0"/>
              <a:t> 5 </a:t>
            </a:r>
            <a:r>
              <a:rPr lang="de-DE" baseline="0" dirty="0" err="1" smtClean="0"/>
              <a:t>ke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ing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e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eep</a:t>
            </a:r>
            <a:r>
              <a:rPr lang="de-DE" baseline="0" dirty="0" smtClean="0"/>
              <a:t> at </a:t>
            </a:r>
            <a:r>
              <a:rPr lang="de-DE" baseline="0" dirty="0" err="1" smtClean="0"/>
              <a:t>heart</a:t>
            </a:r>
            <a:r>
              <a:rPr lang="de-DE" baseline="0" dirty="0" smtClean="0"/>
              <a:t>… </a:t>
            </a:r>
            <a:r>
              <a:rPr lang="de-DE" baseline="0" dirty="0" err="1" smtClean="0"/>
              <a:t>Empower</a:t>
            </a:r>
            <a:r>
              <a:rPr lang="de-DE" baseline="0" dirty="0" smtClean="0"/>
              <a:t> People … (Steve Jobs..) </a:t>
            </a:r>
            <a:r>
              <a:rPr lang="de-DE" baseline="0" dirty="0" err="1" smtClean="0"/>
              <a:t>Reimagin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v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v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gain</a:t>
            </a:r>
            <a:r>
              <a:rPr lang="de-DE" baseline="0" dirty="0" smtClean="0"/>
              <a:t>…. Remove </a:t>
            </a:r>
            <a:r>
              <a:rPr lang="de-DE" baseline="0" dirty="0" err="1" smtClean="0"/>
              <a:t>Friction</a:t>
            </a:r>
            <a:r>
              <a:rPr lang="de-DE" baseline="0" dirty="0" smtClean="0"/>
              <a:t> … </a:t>
            </a:r>
            <a:r>
              <a:rPr lang="de-DE" baseline="0" dirty="0" err="1" smtClean="0"/>
              <a:t>boundari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e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roken</a:t>
            </a:r>
            <a:r>
              <a:rPr lang="de-DE" baseline="0" dirty="0" smtClean="0"/>
              <a:t> down … time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ney</a:t>
            </a:r>
            <a:r>
              <a:rPr lang="de-DE" baseline="0" dirty="0" smtClean="0"/>
              <a:t>…</a:t>
            </a:r>
            <a:r>
              <a:rPr lang="de-DE" baseline="0" dirty="0" err="1" smtClean="0"/>
              <a:t>alway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ha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ee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lways</a:t>
            </a:r>
            <a:r>
              <a:rPr lang="de-DE" baseline="0" dirty="0" smtClean="0"/>
              <a:t> will </a:t>
            </a:r>
            <a:r>
              <a:rPr lang="de-DE" baseline="0" dirty="0" err="1" smtClean="0"/>
              <a:t>be</a:t>
            </a:r>
            <a:r>
              <a:rPr lang="de-DE" baseline="0" dirty="0" smtClean="0"/>
              <a:t>…. </a:t>
            </a:r>
            <a:r>
              <a:rPr lang="de-DE" baseline="0" dirty="0" err="1" smtClean="0"/>
              <a:t>Provid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tility</a:t>
            </a:r>
            <a:r>
              <a:rPr lang="de-DE" baseline="0" dirty="0" smtClean="0"/>
              <a:t>….</a:t>
            </a:r>
            <a:r>
              <a:rPr lang="de-DE" baseline="0" dirty="0" err="1" smtClean="0"/>
              <a:t>wel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extra </a:t>
            </a:r>
            <a:r>
              <a:rPr lang="de-DE" baseline="0" dirty="0" err="1" smtClean="0"/>
              <a:t>mile</a:t>
            </a:r>
            <a:r>
              <a:rPr lang="de-DE" baseline="0" dirty="0" smtClean="0"/>
              <a:t> …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1739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4565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On </a:t>
            </a:r>
            <a:r>
              <a:rPr lang="de-DE" dirty="0" err="1" smtClean="0"/>
              <a:t>this</a:t>
            </a:r>
            <a:r>
              <a:rPr lang="de-DE" dirty="0" smtClean="0"/>
              <a:t> </a:t>
            </a:r>
            <a:r>
              <a:rPr lang="de-DE" dirty="0" err="1" smtClean="0"/>
              <a:t>slide</a:t>
            </a:r>
            <a:r>
              <a:rPr lang="de-DE" dirty="0" smtClean="0"/>
              <a:t> I </a:t>
            </a:r>
            <a:r>
              <a:rPr lang="de-DE" dirty="0" err="1" smtClean="0"/>
              <a:t>leave</a:t>
            </a:r>
            <a:r>
              <a:rPr lang="de-DE" dirty="0" smtClean="0"/>
              <a:t> </a:t>
            </a:r>
            <a:r>
              <a:rPr lang="de-DE" dirty="0" err="1" smtClean="0"/>
              <a:t>it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ach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u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umber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dentif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rsel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e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tar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ces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day</a:t>
            </a:r>
            <a:r>
              <a:rPr lang="de-DE" baseline="0" dirty="0" smtClean="0"/>
              <a:t>… but I am </a:t>
            </a:r>
            <a:r>
              <a:rPr lang="de-DE" baseline="0" dirty="0" err="1" smtClean="0"/>
              <a:t>quie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ur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o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u</a:t>
            </a:r>
            <a:r>
              <a:rPr lang="de-DE" baseline="0" dirty="0" smtClean="0"/>
              <a:t> </a:t>
            </a:r>
            <a:r>
              <a:rPr lang="de-DE" baseline="0" dirty="0" err="1" smtClean="0"/>
              <a:t>use</a:t>
            </a:r>
            <a:r>
              <a:rPr lang="de-DE" baseline="0" dirty="0" smtClean="0"/>
              <a:t> multiple </a:t>
            </a:r>
            <a:r>
              <a:rPr lang="de-DE" baseline="0" dirty="0" err="1" smtClean="0"/>
              <a:t>channel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lo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a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not </a:t>
            </a:r>
            <a:r>
              <a:rPr lang="de-DE" baseline="0" dirty="0" err="1" smtClean="0"/>
              <a:t>necissari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nnect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deal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terlinked</a:t>
            </a:r>
            <a:r>
              <a:rPr lang="de-DE" baseline="0" dirty="0" smtClean="0"/>
              <a:t>…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9194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72B28E-CA0B-364C-BDC1-6279DD2B80A5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33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7C4B877-03C8-47B0-96CE-AA568E8F61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5322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7982" y="6356351"/>
            <a:ext cx="2742486" cy="365125"/>
          </a:xfrm>
          <a:prstGeom prst="rect">
            <a:avLst/>
          </a:prstGeom>
        </p:spPr>
        <p:txBody>
          <a:bodyPr/>
          <a:lstStyle/>
          <a:p>
            <a:fld id="{96AA59CB-A87C-BE47-B45D-4041F0C5CFDC}" type="datetimeFigureOut">
              <a:rPr lang="en-US" smtClean="0"/>
              <a:t>3/12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7549" y="6356351"/>
            <a:ext cx="4113728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08357" y="6356351"/>
            <a:ext cx="2742486" cy="365125"/>
          </a:xfrm>
          <a:prstGeom prst="rect">
            <a:avLst/>
          </a:prstGeom>
        </p:spPr>
        <p:txBody>
          <a:bodyPr/>
          <a:lstStyle/>
          <a:p>
            <a:fld id="{6CD539DA-37D8-6744-B094-9970F7B9AB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9511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64A3D7-0886-4921-A787-5878C47BB0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1289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12188825" cy="6857999"/>
          </a:xfrm>
          <a:prstGeom prst="rect">
            <a:avLst/>
          </a:prstGeom>
          <a:gradFill flip="none" rotWithShape="1">
            <a:gsLst>
              <a:gs pos="100000">
                <a:srgbClr val="070707"/>
              </a:gs>
              <a:gs pos="0">
                <a:srgbClr val="30313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8" name="Picture 47"/>
          <p:cNvPicPr>
            <a:picLocks noChangeAspect="1"/>
          </p:cNvPicPr>
          <p:nvPr userDrawn="1"/>
        </p:nvPicPr>
        <p:blipFill rotWithShape="1">
          <a:blip r:embed="rId6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88825" cy="6858000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-3064550" y="-3218838"/>
            <a:ext cx="13262312" cy="13754458"/>
            <a:chOff x="-3064550" y="-3218838"/>
            <a:chExt cx="13262312" cy="13754458"/>
          </a:xfrm>
        </p:grpSpPr>
        <p:grpSp>
          <p:nvGrpSpPr>
            <p:cNvPr id="28" name="Group 27"/>
            <p:cNvGrpSpPr/>
            <p:nvPr userDrawn="1"/>
          </p:nvGrpSpPr>
          <p:grpSpPr>
            <a:xfrm rot="13500000">
              <a:off x="-852747" y="-749627"/>
              <a:ext cx="8964139" cy="8659236"/>
              <a:chOff x="6927850" y="2016125"/>
              <a:chExt cx="1400175" cy="1352550"/>
            </a:xfrm>
            <a:solidFill>
              <a:schemeClr val="bg1"/>
            </a:solidFill>
          </p:grpSpPr>
          <p:sp>
            <p:nvSpPr>
              <p:cNvPr id="44" name="Freeform 86"/>
              <p:cNvSpPr>
                <a:spLocks/>
              </p:cNvSpPr>
              <p:nvPr/>
            </p:nvSpPr>
            <p:spPr bwMode="auto">
              <a:xfrm>
                <a:off x="7035800" y="2016125"/>
                <a:ext cx="614362" cy="387350"/>
              </a:xfrm>
              <a:custGeom>
                <a:avLst/>
                <a:gdLst>
                  <a:gd name="T0" fmla="*/ 348 w 368"/>
                  <a:gd name="T1" fmla="*/ 0 h 231"/>
                  <a:gd name="T2" fmla="*/ 206 w 368"/>
                  <a:gd name="T3" fmla="*/ 26 h 231"/>
                  <a:gd name="T4" fmla="*/ 0 w 368"/>
                  <a:gd name="T5" fmla="*/ 198 h 231"/>
                  <a:gd name="T6" fmla="*/ 56 w 368"/>
                  <a:gd name="T7" fmla="*/ 231 h 231"/>
                  <a:gd name="T8" fmla="*/ 228 w 368"/>
                  <a:gd name="T9" fmla="*/ 86 h 231"/>
                  <a:gd name="T10" fmla="*/ 348 w 368"/>
                  <a:gd name="T11" fmla="*/ 64 h 231"/>
                  <a:gd name="T12" fmla="*/ 365 w 368"/>
                  <a:gd name="T13" fmla="*/ 65 h 231"/>
                  <a:gd name="T14" fmla="*/ 368 w 368"/>
                  <a:gd name="T15" fmla="*/ 0 h 231"/>
                  <a:gd name="T16" fmla="*/ 348 w 368"/>
                  <a:gd name="T17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8" h="231">
                    <a:moveTo>
                      <a:pt x="348" y="0"/>
                    </a:moveTo>
                    <a:cubicBezTo>
                      <a:pt x="301" y="0"/>
                      <a:pt x="253" y="8"/>
                      <a:pt x="206" y="26"/>
                    </a:cubicBezTo>
                    <a:cubicBezTo>
                      <a:pt x="116" y="59"/>
                      <a:pt x="46" y="121"/>
                      <a:pt x="0" y="198"/>
                    </a:cubicBezTo>
                    <a:cubicBezTo>
                      <a:pt x="19" y="209"/>
                      <a:pt x="37" y="220"/>
                      <a:pt x="56" y="231"/>
                    </a:cubicBezTo>
                    <a:cubicBezTo>
                      <a:pt x="94" y="166"/>
                      <a:pt x="153" y="114"/>
                      <a:pt x="228" y="86"/>
                    </a:cubicBezTo>
                    <a:cubicBezTo>
                      <a:pt x="268" y="71"/>
                      <a:pt x="308" y="64"/>
                      <a:pt x="348" y="64"/>
                    </a:cubicBezTo>
                    <a:cubicBezTo>
                      <a:pt x="354" y="64"/>
                      <a:pt x="359" y="64"/>
                      <a:pt x="365" y="65"/>
                    </a:cubicBezTo>
                    <a:cubicBezTo>
                      <a:pt x="368" y="0"/>
                      <a:pt x="368" y="0"/>
                      <a:pt x="368" y="0"/>
                    </a:cubicBezTo>
                    <a:cubicBezTo>
                      <a:pt x="362" y="0"/>
                      <a:pt x="355" y="0"/>
                      <a:pt x="348" y="0"/>
                    </a:cubicBezTo>
                  </a:path>
                </a:pathLst>
              </a:custGeom>
              <a:solidFill>
                <a:schemeClr val="bg1">
                  <a:alpha val="13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5" name="Freeform 87"/>
              <p:cNvSpPr>
                <a:spLocks/>
              </p:cNvSpPr>
              <p:nvPr/>
            </p:nvSpPr>
            <p:spPr bwMode="auto">
              <a:xfrm>
                <a:off x="8031163" y="2228850"/>
                <a:ext cx="296862" cy="822325"/>
              </a:xfrm>
              <a:custGeom>
                <a:avLst/>
                <a:gdLst>
                  <a:gd name="T0" fmla="*/ 47 w 177"/>
                  <a:gd name="T1" fmla="*/ 0 h 492"/>
                  <a:gd name="T2" fmla="*/ 0 w 177"/>
                  <a:gd name="T3" fmla="*/ 44 h 492"/>
                  <a:gd name="T4" fmla="*/ 70 w 177"/>
                  <a:gd name="T5" fmla="*/ 157 h 492"/>
                  <a:gd name="T6" fmla="*/ 40 w 177"/>
                  <a:gd name="T7" fmla="*/ 458 h 492"/>
                  <a:gd name="T8" fmla="*/ 94 w 177"/>
                  <a:gd name="T9" fmla="*/ 492 h 492"/>
                  <a:gd name="T10" fmla="*/ 130 w 177"/>
                  <a:gd name="T11" fmla="*/ 135 h 492"/>
                  <a:gd name="T12" fmla="*/ 47 w 177"/>
                  <a:gd name="T13" fmla="*/ 0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7" h="492">
                    <a:moveTo>
                      <a:pt x="47" y="0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30" y="76"/>
                      <a:pt x="54" y="114"/>
                      <a:pt x="70" y="157"/>
                    </a:cubicBezTo>
                    <a:cubicBezTo>
                      <a:pt x="109" y="261"/>
                      <a:pt x="94" y="371"/>
                      <a:pt x="40" y="458"/>
                    </a:cubicBezTo>
                    <a:cubicBezTo>
                      <a:pt x="94" y="492"/>
                      <a:pt x="94" y="492"/>
                      <a:pt x="94" y="492"/>
                    </a:cubicBezTo>
                    <a:cubicBezTo>
                      <a:pt x="159" y="389"/>
                      <a:pt x="177" y="258"/>
                      <a:pt x="130" y="135"/>
                    </a:cubicBezTo>
                    <a:cubicBezTo>
                      <a:pt x="111" y="83"/>
                      <a:pt x="82" y="38"/>
                      <a:pt x="47" y="0"/>
                    </a:cubicBezTo>
                  </a:path>
                </a:pathLst>
              </a:custGeom>
              <a:solidFill>
                <a:schemeClr val="bg1">
                  <a:alpha val="18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6" name="Freeform 88"/>
              <p:cNvSpPr>
                <a:spLocks/>
              </p:cNvSpPr>
              <p:nvPr/>
            </p:nvSpPr>
            <p:spPr bwMode="auto">
              <a:xfrm>
                <a:off x="7448550" y="3073400"/>
                <a:ext cx="669925" cy="295275"/>
              </a:xfrm>
              <a:custGeom>
                <a:avLst/>
                <a:gdLst>
                  <a:gd name="T0" fmla="*/ 353 w 401"/>
                  <a:gd name="T1" fmla="*/ 0 h 176"/>
                  <a:gd name="T2" fmla="*/ 221 w 401"/>
                  <a:gd name="T3" fmla="*/ 90 h 176"/>
                  <a:gd name="T4" fmla="*/ 101 w 401"/>
                  <a:gd name="T5" fmla="*/ 112 h 176"/>
                  <a:gd name="T6" fmla="*/ 16 w 401"/>
                  <a:gd name="T7" fmla="*/ 101 h 176"/>
                  <a:gd name="T8" fmla="*/ 0 w 401"/>
                  <a:gd name="T9" fmla="*/ 163 h 176"/>
                  <a:gd name="T10" fmla="*/ 101 w 401"/>
                  <a:gd name="T11" fmla="*/ 176 h 176"/>
                  <a:gd name="T12" fmla="*/ 243 w 401"/>
                  <a:gd name="T13" fmla="*/ 150 h 176"/>
                  <a:gd name="T14" fmla="*/ 401 w 401"/>
                  <a:gd name="T15" fmla="*/ 43 h 176"/>
                  <a:gd name="T16" fmla="*/ 353 w 401"/>
                  <a:gd name="T17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1" h="176">
                    <a:moveTo>
                      <a:pt x="353" y="0"/>
                    </a:moveTo>
                    <a:cubicBezTo>
                      <a:pt x="318" y="39"/>
                      <a:pt x="273" y="70"/>
                      <a:pt x="221" y="90"/>
                    </a:cubicBezTo>
                    <a:cubicBezTo>
                      <a:pt x="181" y="105"/>
                      <a:pt x="141" y="112"/>
                      <a:pt x="101" y="112"/>
                    </a:cubicBezTo>
                    <a:cubicBezTo>
                      <a:pt x="72" y="112"/>
                      <a:pt x="44" y="108"/>
                      <a:pt x="16" y="101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33" y="172"/>
                      <a:pt x="67" y="176"/>
                      <a:pt x="101" y="176"/>
                    </a:cubicBezTo>
                    <a:cubicBezTo>
                      <a:pt x="148" y="176"/>
                      <a:pt x="196" y="168"/>
                      <a:pt x="243" y="150"/>
                    </a:cubicBezTo>
                    <a:cubicBezTo>
                      <a:pt x="306" y="127"/>
                      <a:pt x="359" y="89"/>
                      <a:pt x="401" y="43"/>
                    </a:cubicBezTo>
                    <a:cubicBezTo>
                      <a:pt x="353" y="0"/>
                      <a:pt x="353" y="0"/>
                      <a:pt x="353" y="0"/>
                    </a:cubicBezTo>
                  </a:path>
                </a:pathLst>
              </a:custGeom>
              <a:solidFill>
                <a:schemeClr val="bg1">
                  <a:alpha val="22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7" name="Freeform 89"/>
              <p:cNvSpPr>
                <a:spLocks/>
              </p:cNvSpPr>
              <p:nvPr/>
            </p:nvSpPr>
            <p:spPr bwMode="auto">
              <a:xfrm>
                <a:off x="6927850" y="2522538"/>
                <a:ext cx="342900" cy="704850"/>
              </a:xfrm>
              <a:custGeom>
                <a:avLst/>
                <a:gdLst>
                  <a:gd name="T0" fmla="*/ 21 w 205"/>
                  <a:gd name="T1" fmla="*/ 0 h 422"/>
                  <a:gd name="T2" fmla="*/ 34 w 205"/>
                  <a:gd name="T3" fmla="*/ 244 h 422"/>
                  <a:gd name="T4" fmla="*/ 165 w 205"/>
                  <a:gd name="T5" fmla="*/ 422 h 422"/>
                  <a:gd name="T6" fmla="*/ 205 w 205"/>
                  <a:gd name="T7" fmla="*/ 371 h 422"/>
                  <a:gd name="T8" fmla="*/ 94 w 205"/>
                  <a:gd name="T9" fmla="*/ 222 h 422"/>
                  <a:gd name="T10" fmla="*/ 83 w 205"/>
                  <a:gd name="T11" fmla="*/ 16 h 422"/>
                  <a:gd name="T12" fmla="*/ 21 w 205"/>
                  <a:gd name="T13" fmla="*/ 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5" h="422">
                    <a:moveTo>
                      <a:pt x="21" y="0"/>
                    </a:moveTo>
                    <a:cubicBezTo>
                      <a:pt x="0" y="78"/>
                      <a:pt x="3" y="163"/>
                      <a:pt x="34" y="244"/>
                    </a:cubicBezTo>
                    <a:cubicBezTo>
                      <a:pt x="61" y="317"/>
                      <a:pt x="108" y="378"/>
                      <a:pt x="165" y="422"/>
                    </a:cubicBezTo>
                    <a:cubicBezTo>
                      <a:pt x="205" y="371"/>
                      <a:pt x="205" y="371"/>
                      <a:pt x="205" y="371"/>
                    </a:cubicBezTo>
                    <a:cubicBezTo>
                      <a:pt x="156" y="334"/>
                      <a:pt x="117" y="283"/>
                      <a:pt x="94" y="222"/>
                    </a:cubicBezTo>
                    <a:cubicBezTo>
                      <a:pt x="68" y="153"/>
                      <a:pt x="66" y="82"/>
                      <a:pt x="83" y="16"/>
                    </a:cubicBezTo>
                    <a:cubicBezTo>
                      <a:pt x="21" y="0"/>
                      <a:pt x="21" y="0"/>
                      <a:pt x="21" y="0"/>
                    </a:cubicBezTo>
                  </a:path>
                </a:pathLst>
              </a:custGeom>
              <a:solidFill>
                <a:schemeClr val="bg1">
                  <a:alpha val="12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</p:grpSp>
        <p:grpSp>
          <p:nvGrpSpPr>
            <p:cNvPr id="29" name="Group 28"/>
            <p:cNvGrpSpPr/>
            <p:nvPr userDrawn="1"/>
          </p:nvGrpSpPr>
          <p:grpSpPr>
            <a:xfrm rot="13134329">
              <a:off x="189001" y="195572"/>
              <a:ext cx="6880642" cy="6768839"/>
              <a:chOff x="7077869" y="2163763"/>
              <a:chExt cx="1074738" cy="1057275"/>
            </a:xfrm>
            <a:solidFill>
              <a:schemeClr val="bg1"/>
            </a:solidFill>
          </p:grpSpPr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7909719" y="2562225"/>
                <a:ext cx="242888" cy="523875"/>
              </a:xfrm>
              <a:custGeom>
                <a:avLst/>
                <a:gdLst>
                  <a:gd name="T0" fmla="*/ 129 w 146"/>
                  <a:gd name="T1" fmla="*/ 0 h 313"/>
                  <a:gd name="T2" fmla="*/ 80 w 146"/>
                  <a:gd name="T3" fmla="*/ 13 h 313"/>
                  <a:gd name="T4" fmla="*/ 64 w 146"/>
                  <a:gd name="T5" fmla="*/ 188 h 313"/>
                  <a:gd name="T6" fmla="*/ 0 w 146"/>
                  <a:gd name="T7" fmla="*/ 276 h 313"/>
                  <a:gd name="T8" fmla="*/ 34 w 146"/>
                  <a:gd name="T9" fmla="*/ 313 h 313"/>
                  <a:gd name="T10" fmla="*/ 110 w 146"/>
                  <a:gd name="T11" fmla="*/ 209 h 313"/>
                  <a:gd name="T12" fmla="*/ 129 w 146"/>
                  <a:gd name="T13" fmla="*/ 0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6" h="313">
                    <a:moveTo>
                      <a:pt x="129" y="0"/>
                    </a:moveTo>
                    <a:cubicBezTo>
                      <a:pt x="112" y="4"/>
                      <a:pt x="96" y="8"/>
                      <a:pt x="80" y="13"/>
                    </a:cubicBezTo>
                    <a:cubicBezTo>
                      <a:pt x="94" y="69"/>
                      <a:pt x="90" y="131"/>
                      <a:pt x="64" y="188"/>
                    </a:cubicBezTo>
                    <a:cubicBezTo>
                      <a:pt x="49" y="223"/>
                      <a:pt x="27" y="252"/>
                      <a:pt x="0" y="276"/>
                    </a:cubicBezTo>
                    <a:cubicBezTo>
                      <a:pt x="34" y="313"/>
                      <a:pt x="34" y="313"/>
                      <a:pt x="34" y="313"/>
                    </a:cubicBezTo>
                    <a:cubicBezTo>
                      <a:pt x="65" y="285"/>
                      <a:pt x="91" y="250"/>
                      <a:pt x="110" y="209"/>
                    </a:cubicBezTo>
                    <a:cubicBezTo>
                      <a:pt x="141" y="141"/>
                      <a:pt x="146" y="68"/>
                      <a:pt x="129" y="0"/>
                    </a:cubicBezTo>
                  </a:path>
                </a:pathLst>
              </a:custGeom>
              <a:solidFill>
                <a:schemeClr val="bg1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1" name="Freeform 40"/>
              <p:cNvSpPr>
                <a:spLocks/>
              </p:cNvSpPr>
              <p:nvPr/>
            </p:nvSpPr>
            <p:spPr bwMode="auto">
              <a:xfrm>
                <a:off x="7095331" y="2790825"/>
                <a:ext cx="501650" cy="430213"/>
              </a:xfrm>
              <a:custGeom>
                <a:avLst/>
                <a:gdLst>
                  <a:gd name="T0" fmla="*/ 50 w 300"/>
                  <a:gd name="T1" fmla="*/ 0 h 257"/>
                  <a:gd name="T2" fmla="*/ 0 w 300"/>
                  <a:gd name="T3" fmla="*/ 11 h 257"/>
                  <a:gd name="T4" fmla="*/ 178 w 300"/>
                  <a:gd name="T5" fmla="*/ 229 h 257"/>
                  <a:gd name="T6" fmla="*/ 299 w 300"/>
                  <a:gd name="T7" fmla="*/ 257 h 257"/>
                  <a:gd name="T8" fmla="*/ 300 w 300"/>
                  <a:gd name="T9" fmla="*/ 207 h 257"/>
                  <a:gd name="T10" fmla="*/ 199 w 300"/>
                  <a:gd name="T11" fmla="*/ 183 h 257"/>
                  <a:gd name="T12" fmla="*/ 50 w 300"/>
                  <a:gd name="T13" fmla="*/ 0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257">
                    <a:moveTo>
                      <a:pt x="5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22" y="104"/>
                      <a:pt x="84" y="186"/>
                      <a:pt x="178" y="229"/>
                    </a:cubicBezTo>
                    <a:cubicBezTo>
                      <a:pt x="217" y="247"/>
                      <a:pt x="258" y="256"/>
                      <a:pt x="299" y="257"/>
                    </a:cubicBezTo>
                    <a:cubicBezTo>
                      <a:pt x="300" y="207"/>
                      <a:pt x="300" y="207"/>
                      <a:pt x="300" y="207"/>
                    </a:cubicBezTo>
                    <a:cubicBezTo>
                      <a:pt x="266" y="206"/>
                      <a:pt x="232" y="198"/>
                      <a:pt x="199" y="183"/>
                    </a:cubicBezTo>
                    <a:cubicBezTo>
                      <a:pt x="120" y="147"/>
                      <a:pt x="67" y="78"/>
                      <a:pt x="50" y="0"/>
                    </a:cubicBezTo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7077869" y="2235200"/>
                <a:ext cx="307975" cy="484188"/>
              </a:xfrm>
              <a:custGeom>
                <a:avLst/>
                <a:gdLst>
                  <a:gd name="T0" fmla="*/ 159 w 184"/>
                  <a:gd name="T1" fmla="*/ 0 h 289"/>
                  <a:gd name="T2" fmla="*/ 31 w 184"/>
                  <a:gd name="T3" fmla="*/ 142 h 289"/>
                  <a:gd name="T4" fmla="*/ 3 w 184"/>
                  <a:gd name="T5" fmla="*/ 289 h 289"/>
                  <a:gd name="T6" fmla="*/ 53 w 184"/>
                  <a:gd name="T7" fmla="*/ 286 h 289"/>
                  <a:gd name="T8" fmla="*/ 77 w 184"/>
                  <a:gd name="T9" fmla="*/ 163 h 289"/>
                  <a:gd name="T10" fmla="*/ 184 w 184"/>
                  <a:gd name="T11" fmla="*/ 44 h 289"/>
                  <a:gd name="T12" fmla="*/ 159 w 184"/>
                  <a:gd name="T13" fmla="*/ 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" h="289">
                    <a:moveTo>
                      <a:pt x="159" y="0"/>
                    </a:moveTo>
                    <a:cubicBezTo>
                      <a:pt x="104" y="32"/>
                      <a:pt x="59" y="80"/>
                      <a:pt x="31" y="142"/>
                    </a:cubicBezTo>
                    <a:cubicBezTo>
                      <a:pt x="9" y="190"/>
                      <a:pt x="0" y="240"/>
                      <a:pt x="3" y="289"/>
                    </a:cubicBezTo>
                    <a:cubicBezTo>
                      <a:pt x="53" y="286"/>
                      <a:pt x="53" y="286"/>
                      <a:pt x="53" y="286"/>
                    </a:cubicBezTo>
                    <a:cubicBezTo>
                      <a:pt x="51" y="245"/>
                      <a:pt x="59" y="203"/>
                      <a:pt x="77" y="163"/>
                    </a:cubicBezTo>
                    <a:cubicBezTo>
                      <a:pt x="100" y="111"/>
                      <a:pt x="139" y="70"/>
                      <a:pt x="184" y="44"/>
                    </a:cubicBezTo>
                    <a:cubicBezTo>
                      <a:pt x="159" y="0"/>
                      <a:pt x="159" y="0"/>
                      <a:pt x="159" y="0"/>
                    </a:cubicBezTo>
                  </a:path>
                </a:pathLst>
              </a:custGeom>
              <a:solidFill>
                <a:schemeClr val="bg1">
                  <a:alpha val="4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7544594" y="2163763"/>
                <a:ext cx="523875" cy="304800"/>
              </a:xfrm>
              <a:custGeom>
                <a:avLst/>
                <a:gdLst>
                  <a:gd name="T0" fmla="*/ 40 w 313"/>
                  <a:gd name="T1" fmla="*/ 0 h 182"/>
                  <a:gd name="T2" fmla="*/ 0 w 313"/>
                  <a:gd name="T3" fmla="*/ 2 h 182"/>
                  <a:gd name="T4" fmla="*/ 6 w 313"/>
                  <a:gd name="T5" fmla="*/ 52 h 182"/>
                  <a:gd name="T6" fmla="*/ 40 w 313"/>
                  <a:gd name="T7" fmla="*/ 50 h 182"/>
                  <a:gd name="T8" fmla="*/ 150 w 313"/>
                  <a:gd name="T9" fmla="*/ 74 h 182"/>
                  <a:gd name="T10" fmla="*/ 270 w 313"/>
                  <a:gd name="T11" fmla="*/ 182 h 182"/>
                  <a:gd name="T12" fmla="*/ 313 w 313"/>
                  <a:gd name="T13" fmla="*/ 157 h 182"/>
                  <a:gd name="T14" fmla="*/ 171 w 313"/>
                  <a:gd name="T15" fmla="*/ 28 h 182"/>
                  <a:gd name="T16" fmla="*/ 40 w 313"/>
                  <a:gd name="T17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3" h="182">
                    <a:moveTo>
                      <a:pt x="40" y="0"/>
                    </a:moveTo>
                    <a:cubicBezTo>
                      <a:pt x="27" y="0"/>
                      <a:pt x="13" y="0"/>
                      <a:pt x="0" y="2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17" y="51"/>
                      <a:pt x="29" y="50"/>
                      <a:pt x="40" y="50"/>
                    </a:cubicBezTo>
                    <a:cubicBezTo>
                      <a:pt x="77" y="50"/>
                      <a:pt x="115" y="58"/>
                      <a:pt x="150" y="74"/>
                    </a:cubicBezTo>
                    <a:cubicBezTo>
                      <a:pt x="202" y="98"/>
                      <a:pt x="243" y="136"/>
                      <a:pt x="270" y="182"/>
                    </a:cubicBezTo>
                    <a:cubicBezTo>
                      <a:pt x="313" y="157"/>
                      <a:pt x="313" y="157"/>
                      <a:pt x="313" y="157"/>
                    </a:cubicBezTo>
                    <a:cubicBezTo>
                      <a:pt x="282" y="102"/>
                      <a:pt x="233" y="56"/>
                      <a:pt x="171" y="28"/>
                    </a:cubicBezTo>
                    <a:cubicBezTo>
                      <a:pt x="129" y="9"/>
                      <a:pt x="84" y="0"/>
                      <a:pt x="40" y="0"/>
                    </a:cubicBezTo>
                  </a:path>
                </a:pathLst>
              </a:custGeom>
              <a:solidFill>
                <a:schemeClr val="bg1">
                  <a:alpha val="33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</p:grpSp>
        <p:grpSp>
          <p:nvGrpSpPr>
            <p:cNvPr id="30" name="Group 29"/>
            <p:cNvGrpSpPr/>
            <p:nvPr userDrawn="1"/>
          </p:nvGrpSpPr>
          <p:grpSpPr>
            <a:xfrm rot="11280500">
              <a:off x="-2082523" y="-2014975"/>
              <a:ext cx="11423690" cy="11189932"/>
              <a:chOff x="8685213" y="1692275"/>
              <a:chExt cx="1784350" cy="1747838"/>
            </a:xfrm>
            <a:solidFill>
              <a:schemeClr val="bg1">
                <a:alpha val="6000"/>
              </a:schemeClr>
            </a:solidFill>
          </p:grpSpPr>
          <p:sp>
            <p:nvSpPr>
              <p:cNvPr id="36" name="Freeform 218"/>
              <p:cNvSpPr>
                <a:spLocks/>
              </p:cNvSpPr>
              <p:nvPr/>
            </p:nvSpPr>
            <p:spPr bwMode="auto">
              <a:xfrm>
                <a:off x="9464676" y="2998788"/>
                <a:ext cx="820738" cy="441325"/>
              </a:xfrm>
              <a:custGeom>
                <a:avLst/>
                <a:gdLst>
                  <a:gd name="T0" fmla="*/ 424 w 491"/>
                  <a:gd name="T1" fmla="*/ 0 h 264"/>
                  <a:gd name="T2" fmla="*/ 188 w 491"/>
                  <a:gd name="T3" fmla="*/ 163 h 264"/>
                  <a:gd name="T4" fmla="*/ 12 w 491"/>
                  <a:gd name="T5" fmla="*/ 173 h 264"/>
                  <a:gd name="T6" fmla="*/ 0 w 491"/>
                  <a:gd name="T7" fmla="*/ 254 h 264"/>
                  <a:gd name="T8" fmla="*/ 209 w 491"/>
                  <a:gd name="T9" fmla="*/ 242 h 264"/>
                  <a:gd name="T10" fmla="*/ 491 w 491"/>
                  <a:gd name="T11" fmla="*/ 48 h 264"/>
                  <a:gd name="T12" fmla="*/ 424 w 491"/>
                  <a:gd name="T1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1" h="264">
                    <a:moveTo>
                      <a:pt x="424" y="0"/>
                    </a:moveTo>
                    <a:cubicBezTo>
                      <a:pt x="368" y="77"/>
                      <a:pt x="287" y="136"/>
                      <a:pt x="188" y="163"/>
                    </a:cubicBezTo>
                    <a:cubicBezTo>
                      <a:pt x="129" y="179"/>
                      <a:pt x="69" y="182"/>
                      <a:pt x="12" y="173"/>
                    </a:cubicBezTo>
                    <a:cubicBezTo>
                      <a:pt x="0" y="254"/>
                      <a:pt x="0" y="254"/>
                      <a:pt x="0" y="254"/>
                    </a:cubicBezTo>
                    <a:cubicBezTo>
                      <a:pt x="68" y="264"/>
                      <a:pt x="139" y="261"/>
                      <a:pt x="209" y="242"/>
                    </a:cubicBezTo>
                    <a:cubicBezTo>
                      <a:pt x="327" y="210"/>
                      <a:pt x="424" y="140"/>
                      <a:pt x="491" y="48"/>
                    </a:cubicBezTo>
                    <a:cubicBezTo>
                      <a:pt x="469" y="32"/>
                      <a:pt x="446" y="16"/>
                      <a:pt x="4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37" name="Freeform 219"/>
              <p:cNvSpPr>
                <a:spLocks/>
              </p:cNvSpPr>
              <p:nvPr/>
            </p:nvSpPr>
            <p:spPr bwMode="auto">
              <a:xfrm>
                <a:off x="8685213" y="2046288"/>
                <a:ext cx="333375" cy="1052513"/>
              </a:xfrm>
              <a:custGeom>
                <a:avLst/>
                <a:gdLst>
                  <a:gd name="T0" fmla="*/ 133 w 199"/>
                  <a:gd name="T1" fmla="*/ 0 h 629"/>
                  <a:gd name="T2" fmla="*/ 44 w 199"/>
                  <a:gd name="T3" fmla="*/ 449 h 629"/>
                  <a:gd name="T4" fmla="*/ 134 w 199"/>
                  <a:gd name="T5" fmla="*/ 629 h 629"/>
                  <a:gd name="T6" fmla="*/ 199 w 199"/>
                  <a:gd name="T7" fmla="*/ 579 h 629"/>
                  <a:gd name="T8" fmla="*/ 123 w 199"/>
                  <a:gd name="T9" fmla="*/ 427 h 629"/>
                  <a:gd name="T10" fmla="*/ 198 w 199"/>
                  <a:gd name="T11" fmla="*/ 50 h 629"/>
                  <a:gd name="T12" fmla="*/ 133 w 199"/>
                  <a:gd name="T13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9" h="629">
                    <a:moveTo>
                      <a:pt x="133" y="0"/>
                    </a:moveTo>
                    <a:cubicBezTo>
                      <a:pt x="38" y="123"/>
                      <a:pt x="0" y="287"/>
                      <a:pt x="44" y="449"/>
                    </a:cubicBezTo>
                    <a:cubicBezTo>
                      <a:pt x="62" y="516"/>
                      <a:pt x="93" y="577"/>
                      <a:pt x="134" y="629"/>
                    </a:cubicBezTo>
                    <a:cubicBezTo>
                      <a:pt x="199" y="579"/>
                      <a:pt x="199" y="579"/>
                      <a:pt x="199" y="579"/>
                    </a:cubicBezTo>
                    <a:cubicBezTo>
                      <a:pt x="165" y="535"/>
                      <a:pt x="138" y="484"/>
                      <a:pt x="123" y="427"/>
                    </a:cubicBezTo>
                    <a:cubicBezTo>
                      <a:pt x="86" y="291"/>
                      <a:pt x="118" y="153"/>
                      <a:pt x="198" y="50"/>
                    </a:cubicBezTo>
                    <a:cubicBezTo>
                      <a:pt x="133" y="0"/>
                      <a:pt x="133" y="0"/>
                      <a:pt x="13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38" name="Freeform 220"/>
              <p:cNvSpPr>
                <a:spLocks/>
              </p:cNvSpPr>
              <p:nvPr/>
            </p:nvSpPr>
            <p:spPr bwMode="auto">
              <a:xfrm>
                <a:off x="9007476" y="1692275"/>
                <a:ext cx="874713" cy="346075"/>
              </a:xfrm>
              <a:custGeom>
                <a:avLst/>
                <a:gdLst>
                  <a:gd name="T0" fmla="*/ 495 w 523"/>
                  <a:gd name="T1" fmla="*/ 119 h 207"/>
                  <a:gd name="T2" fmla="*/ 523 w 523"/>
                  <a:gd name="T3" fmla="*/ 42 h 207"/>
                  <a:gd name="T4" fmla="*/ 213 w 523"/>
                  <a:gd name="T5" fmla="*/ 29 h 207"/>
                  <a:gd name="T6" fmla="*/ 0 w 523"/>
                  <a:gd name="T7" fmla="*/ 146 h 207"/>
                  <a:gd name="T8" fmla="*/ 55 w 523"/>
                  <a:gd name="T9" fmla="*/ 207 h 207"/>
                  <a:gd name="T10" fmla="*/ 235 w 523"/>
                  <a:gd name="T11" fmla="*/ 108 h 207"/>
                  <a:gd name="T12" fmla="*/ 495 w 523"/>
                  <a:gd name="T13" fmla="*/ 119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3" h="207">
                    <a:moveTo>
                      <a:pt x="495" y="119"/>
                    </a:moveTo>
                    <a:cubicBezTo>
                      <a:pt x="523" y="42"/>
                      <a:pt x="523" y="42"/>
                      <a:pt x="523" y="42"/>
                    </a:cubicBezTo>
                    <a:cubicBezTo>
                      <a:pt x="427" y="7"/>
                      <a:pt x="320" y="0"/>
                      <a:pt x="213" y="29"/>
                    </a:cubicBezTo>
                    <a:cubicBezTo>
                      <a:pt x="131" y="51"/>
                      <a:pt x="59" y="92"/>
                      <a:pt x="0" y="146"/>
                    </a:cubicBezTo>
                    <a:cubicBezTo>
                      <a:pt x="55" y="207"/>
                      <a:pt x="55" y="207"/>
                      <a:pt x="55" y="207"/>
                    </a:cubicBezTo>
                    <a:cubicBezTo>
                      <a:pt x="105" y="162"/>
                      <a:pt x="165" y="127"/>
                      <a:pt x="235" y="108"/>
                    </a:cubicBezTo>
                    <a:cubicBezTo>
                      <a:pt x="324" y="84"/>
                      <a:pt x="414" y="90"/>
                      <a:pt x="495" y="1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39" name="Freeform 221"/>
              <p:cNvSpPr>
                <a:spLocks/>
              </p:cNvSpPr>
              <p:nvPr/>
            </p:nvSpPr>
            <p:spPr bwMode="auto">
              <a:xfrm>
                <a:off x="10082213" y="1943100"/>
                <a:ext cx="387350" cy="923925"/>
              </a:xfrm>
              <a:custGeom>
                <a:avLst/>
                <a:gdLst>
                  <a:gd name="T0" fmla="*/ 56 w 231"/>
                  <a:gd name="T1" fmla="*/ 0 h 553"/>
                  <a:gd name="T2" fmla="*/ 0 w 231"/>
                  <a:gd name="T3" fmla="*/ 60 h 553"/>
                  <a:gd name="T4" fmla="*/ 123 w 231"/>
                  <a:gd name="T5" fmla="*/ 263 h 553"/>
                  <a:gd name="T6" fmla="*/ 111 w 231"/>
                  <a:gd name="T7" fmla="*/ 525 h 553"/>
                  <a:gd name="T8" fmla="*/ 188 w 231"/>
                  <a:gd name="T9" fmla="*/ 553 h 553"/>
                  <a:gd name="T10" fmla="*/ 202 w 231"/>
                  <a:gd name="T11" fmla="*/ 241 h 553"/>
                  <a:gd name="T12" fmla="*/ 56 w 231"/>
                  <a:gd name="T13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1" h="553">
                    <a:moveTo>
                      <a:pt x="56" y="0"/>
                    </a:moveTo>
                    <a:cubicBezTo>
                      <a:pt x="0" y="60"/>
                      <a:pt x="0" y="60"/>
                      <a:pt x="0" y="60"/>
                    </a:cubicBezTo>
                    <a:cubicBezTo>
                      <a:pt x="57" y="113"/>
                      <a:pt x="101" y="182"/>
                      <a:pt x="123" y="263"/>
                    </a:cubicBezTo>
                    <a:cubicBezTo>
                      <a:pt x="147" y="353"/>
                      <a:pt x="141" y="444"/>
                      <a:pt x="111" y="525"/>
                    </a:cubicBezTo>
                    <a:cubicBezTo>
                      <a:pt x="188" y="553"/>
                      <a:pt x="188" y="553"/>
                      <a:pt x="188" y="553"/>
                    </a:cubicBezTo>
                    <a:cubicBezTo>
                      <a:pt x="224" y="457"/>
                      <a:pt x="231" y="348"/>
                      <a:pt x="202" y="241"/>
                    </a:cubicBezTo>
                    <a:cubicBezTo>
                      <a:pt x="176" y="145"/>
                      <a:pt x="124" y="63"/>
                      <a:pt x="5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</p:grpSp>
        <p:grpSp>
          <p:nvGrpSpPr>
            <p:cNvPr id="31" name="Group 30"/>
            <p:cNvGrpSpPr/>
            <p:nvPr userDrawn="1"/>
          </p:nvGrpSpPr>
          <p:grpSpPr>
            <a:xfrm rot="5400000">
              <a:off x="-3310623" y="-2972765"/>
              <a:ext cx="13754458" cy="13262312"/>
              <a:chOff x="7213600" y="2286000"/>
              <a:chExt cx="842962" cy="812800"/>
            </a:xfrm>
          </p:grpSpPr>
          <p:sp>
            <p:nvSpPr>
              <p:cNvPr id="32" name="Freeform 174"/>
              <p:cNvSpPr>
                <a:spLocks/>
              </p:cNvSpPr>
              <p:nvPr/>
            </p:nvSpPr>
            <p:spPr bwMode="auto">
              <a:xfrm>
                <a:off x="7289800" y="2286000"/>
                <a:ext cx="381000" cy="215900"/>
              </a:xfrm>
              <a:custGeom>
                <a:avLst/>
                <a:gdLst>
                  <a:gd name="T0" fmla="*/ 202 w 228"/>
                  <a:gd name="T1" fmla="*/ 0 h 129"/>
                  <a:gd name="T2" fmla="*/ 130 w 228"/>
                  <a:gd name="T3" fmla="*/ 11 h 129"/>
                  <a:gd name="T4" fmla="*/ 0 w 228"/>
                  <a:gd name="T5" fmla="*/ 107 h 129"/>
                  <a:gd name="T6" fmla="*/ 32 w 228"/>
                  <a:gd name="T7" fmla="*/ 129 h 129"/>
                  <a:gd name="T8" fmla="*/ 141 w 228"/>
                  <a:gd name="T9" fmla="*/ 48 h 129"/>
                  <a:gd name="T10" fmla="*/ 202 w 228"/>
                  <a:gd name="T11" fmla="*/ 38 h 129"/>
                  <a:gd name="T12" fmla="*/ 224 w 228"/>
                  <a:gd name="T13" fmla="*/ 40 h 129"/>
                  <a:gd name="T14" fmla="*/ 228 w 228"/>
                  <a:gd name="T15" fmla="*/ 1 h 129"/>
                  <a:gd name="T16" fmla="*/ 202 w 228"/>
                  <a:gd name="T17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129">
                    <a:moveTo>
                      <a:pt x="202" y="0"/>
                    </a:moveTo>
                    <a:cubicBezTo>
                      <a:pt x="178" y="0"/>
                      <a:pt x="154" y="3"/>
                      <a:pt x="130" y="11"/>
                    </a:cubicBezTo>
                    <a:cubicBezTo>
                      <a:pt x="75" y="28"/>
                      <a:pt x="30" y="63"/>
                      <a:pt x="0" y="107"/>
                    </a:cubicBezTo>
                    <a:cubicBezTo>
                      <a:pt x="11" y="114"/>
                      <a:pt x="22" y="121"/>
                      <a:pt x="32" y="129"/>
                    </a:cubicBezTo>
                    <a:cubicBezTo>
                      <a:pt x="58" y="91"/>
                      <a:pt x="95" y="62"/>
                      <a:pt x="141" y="48"/>
                    </a:cubicBezTo>
                    <a:cubicBezTo>
                      <a:pt x="162" y="41"/>
                      <a:pt x="182" y="38"/>
                      <a:pt x="202" y="38"/>
                    </a:cubicBezTo>
                    <a:cubicBezTo>
                      <a:pt x="209" y="38"/>
                      <a:pt x="217" y="39"/>
                      <a:pt x="224" y="40"/>
                    </a:cubicBezTo>
                    <a:cubicBezTo>
                      <a:pt x="228" y="1"/>
                      <a:pt x="228" y="1"/>
                      <a:pt x="228" y="1"/>
                    </a:cubicBezTo>
                    <a:cubicBezTo>
                      <a:pt x="220" y="0"/>
                      <a:pt x="211" y="0"/>
                      <a:pt x="202" y="0"/>
                    </a:cubicBezTo>
                  </a:path>
                </a:pathLst>
              </a:custGeom>
              <a:solidFill>
                <a:schemeClr val="bg1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>
                  <a:solidFill>
                    <a:srgbClr val="1C5576"/>
                  </a:solidFill>
                </a:endParaRPr>
              </a:p>
            </p:txBody>
          </p:sp>
          <p:sp>
            <p:nvSpPr>
              <p:cNvPr id="33" name="Freeform 175"/>
              <p:cNvSpPr>
                <a:spLocks/>
              </p:cNvSpPr>
              <p:nvPr/>
            </p:nvSpPr>
            <p:spPr bwMode="auto">
              <a:xfrm>
                <a:off x="7889875" y="2432050"/>
                <a:ext cx="166687" cy="496888"/>
              </a:xfrm>
              <a:custGeom>
                <a:avLst/>
                <a:gdLst>
                  <a:gd name="T0" fmla="*/ 30 w 99"/>
                  <a:gd name="T1" fmla="*/ 0 h 297"/>
                  <a:gd name="T2" fmla="*/ 0 w 99"/>
                  <a:gd name="T3" fmla="*/ 25 h 297"/>
                  <a:gd name="T4" fmla="*/ 38 w 99"/>
                  <a:gd name="T5" fmla="*/ 95 h 297"/>
                  <a:gd name="T6" fmla="*/ 10 w 99"/>
                  <a:gd name="T7" fmla="*/ 275 h 297"/>
                  <a:gd name="T8" fmla="*/ 41 w 99"/>
                  <a:gd name="T9" fmla="*/ 297 h 297"/>
                  <a:gd name="T10" fmla="*/ 75 w 99"/>
                  <a:gd name="T11" fmla="*/ 84 h 297"/>
                  <a:gd name="T12" fmla="*/ 30 w 99"/>
                  <a:gd name="T13" fmla="*/ 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297">
                    <a:moveTo>
                      <a:pt x="30" y="0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17" y="45"/>
                      <a:pt x="30" y="69"/>
                      <a:pt x="38" y="95"/>
                    </a:cubicBezTo>
                    <a:cubicBezTo>
                      <a:pt x="58" y="159"/>
                      <a:pt x="45" y="225"/>
                      <a:pt x="10" y="275"/>
                    </a:cubicBezTo>
                    <a:cubicBezTo>
                      <a:pt x="41" y="297"/>
                      <a:pt x="41" y="297"/>
                      <a:pt x="41" y="297"/>
                    </a:cubicBezTo>
                    <a:cubicBezTo>
                      <a:pt x="84" y="238"/>
                      <a:pt x="99" y="159"/>
                      <a:pt x="75" y="84"/>
                    </a:cubicBezTo>
                    <a:cubicBezTo>
                      <a:pt x="66" y="52"/>
                      <a:pt x="50" y="24"/>
                      <a:pt x="30" y="0"/>
                    </a:cubicBezTo>
                  </a:path>
                </a:pathLst>
              </a:custGeom>
              <a:solidFill>
                <a:schemeClr val="bg1">
                  <a:alpha val="11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34" name="Freeform 176"/>
              <p:cNvSpPr>
                <a:spLocks/>
              </p:cNvSpPr>
              <p:nvPr/>
            </p:nvSpPr>
            <p:spPr bwMode="auto">
              <a:xfrm>
                <a:off x="7504112" y="2936875"/>
                <a:ext cx="409575" cy="161925"/>
              </a:xfrm>
              <a:custGeom>
                <a:avLst/>
                <a:gdLst>
                  <a:gd name="T0" fmla="*/ 218 w 245"/>
                  <a:gd name="T1" fmla="*/ 0 h 97"/>
                  <a:gd name="T2" fmla="*/ 135 w 245"/>
                  <a:gd name="T3" fmla="*/ 49 h 97"/>
                  <a:gd name="T4" fmla="*/ 74 w 245"/>
                  <a:gd name="T5" fmla="*/ 59 h 97"/>
                  <a:gd name="T6" fmla="*/ 11 w 245"/>
                  <a:gd name="T7" fmla="*/ 49 h 97"/>
                  <a:gd name="T8" fmla="*/ 0 w 245"/>
                  <a:gd name="T9" fmla="*/ 86 h 97"/>
                  <a:gd name="T10" fmla="*/ 74 w 245"/>
                  <a:gd name="T11" fmla="*/ 97 h 97"/>
                  <a:gd name="T12" fmla="*/ 146 w 245"/>
                  <a:gd name="T13" fmla="*/ 86 h 97"/>
                  <a:gd name="T14" fmla="*/ 245 w 245"/>
                  <a:gd name="T15" fmla="*/ 27 h 97"/>
                  <a:gd name="T16" fmla="*/ 218 w 245"/>
                  <a:gd name="T17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5" h="97">
                    <a:moveTo>
                      <a:pt x="218" y="0"/>
                    </a:moveTo>
                    <a:cubicBezTo>
                      <a:pt x="195" y="22"/>
                      <a:pt x="167" y="39"/>
                      <a:pt x="135" y="49"/>
                    </a:cubicBezTo>
                    <a:cubicBezTo>
                      <a:pt x="115" y="56"/>
                      <a:pt x="94" y="59"/>
                      <a:pt x="74" y="59"/>
                    </a:cubicBezTo>
                    <a:cubicBezTo>
                      <a:pt x="53" y="59"/>
                      <a:pt x="31" y="55"/>
                      <a:pt x="11" y="49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23" y="93"/>
                      <a:pt x="48" y="97"/>
                      <a:pt x="74" y="97"/>
                    </a:cubicBezTo>
                    <a:cubicBezTo>
                      <a:pt x="98" y="97"/>
                      <a:pt x="122" y="94"/>
                      <a:pt x="146" y="86"/>
                    </a:cubicBezTo>
                    <a:cubicBezTo>
                      <a:pt x="185" y="74"/>
                      <a:pt x="218" y="54"/>
                      <a:pt x="245" y="27"/>
                    </a:cubicBezTo>
                    <a:cubicBezTo>
                      <a:pt x="218" y="0"/>
                      <a:pt x="218" y="0"/>
                      <a:pt x="218" y="0"/>
                    </a:cubicBezTo>
                  </a:path>
                </a:pathLst>
              </a:custGeom>
              <a:solidFill>
                <a:schemeClr val="bg1">
                  <a:alpha val="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35" name="Freeform 177"/>
              <p:cNvSpPr>
                <a:spLocks/>
              </p:cNvSpPr>
              <p:nvPr/>
            </p:nvSpPr>
            <p:spPr bwMode="auto">
              <a:xfrm>
                <a:off x="7213600" y="2566988"/>
                <a:ext cx="190500" cy="433388"/>
              </a:xfrm>
              <a:custGeom>
                <a:avLst/>
                <a:gdLst>
                  <a:gd name="T0" fmla="*/ 17 w 114"/>
                  <a:gd name="T1" fmla="*/ 0 h 259"/>
                  <a:gd name="T2" fmla="*/ 16 w 114"/>
                  <a:gd name="T3" fmla="*/ 147 h 259"/>
                  <a:gd name="T4" fmla="*/ 89 w 114"/>
                  <a:gd name="T5" fmla="*/ 259 h 259"/>
                  <a:gd name="T6" fmla="*/ 114 w 114"/>
                  <a:gd name="T7" fmla="*/ 230 h 259"/>
                  <a:gd name="T8" fmla="*/ 53 w 114"/>
                  <a:gd name="T9" fmla="*/ 136 h 259"/>
                  <a:gd name="T10" fmla="*/ 53 w 114"/>
                  <a:gd name="T11" fmla="*/ 12 h 259"/>
                  <a:gd name="T12" fmla="*/ 17 w 114"/>
                  <a:gd name="T13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4" h="259">
                    <a:moveTo>
                      <a:pt x="17" y="0"/>
                    </a:moveTo>
                    <a:cubicBezTo>
                      <a:pt x="2" y="46"/>
                      <a:pt x="0" y="97"/>
                      <a:pt x="16" y="147"/>
                    </a:cubicBezTo>
                    <a:cubicBezTo>
                      <a:pt x="30" y="192"/>
                      <a:pt x="55" y="230"/>
                      <a:pt x="89" y="259"/>
                    </a:cubicBezTo>
                    <a:cubicBezTo>
                      <a:pt x="114" y="230"/>
                      <a:pt x="114" y="230"/>
                      <a:pt x="114" y="230"/>
                    </a:cubicBezTo>
                    <a:cubicBezTo>
                      <a:pt x="86" y="205"/>
                      <a:pt x="64" y="174"/>
                      <a:pt x="53" y="136"/>
                    </a:cubicBezTo>
                    <a:cubicBezTo>
                      <a:pt x="40" y="94"/>
                      <a:pt x="41" y="51"/>
                      <a:pt x="53" y="12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solidFill>
                <a:schemeClr val="bg1">
                  <a:alpha val="41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8151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64A3D7-0886-4921-A787-5878C47BB0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550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64A3D7-0886-4921-A787-5878C47BB0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0" y="0"/>
            <a:ext cx="12188825" cy="6857999"/>
          </a:xfrm>
          <a:prstGeom prst="rect">
            <a:avLst/>
          </a:prstGeom>
          <a:gradFill flip="none" rotWithShape="1">
            <a:gsLst>
              <a:gs pos="100000">
                <a:srgbClr val="070707"/>
              </a:gs>
              <a:gs pos="0">
                <a:srgbClr val="30313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-3064550" y="-3218838"/>
            <a:ext cx="13262312" cy="13754458"/>
            <a:chOff x="-3064550" y="-3218838"/>
            <a:chExt cx="13262312" cy="13754458"/>
          </a:xfrm>
        </p:grpSpPr>
        <p:grpSp>
          <p:nvGrpSpPr>
            <p:cNvPr id="28" name="Group 27"/>
            <p:cNvGrpSpPr/>
            <p:nvPr userDrawn="1"/>
          </p:nvGrpSpPr>
          <p:grpSpPr>
            <a:xfrm rot="13500000">
              <a:off x="-852747" y="-749627"/>
              <a:ext cx="8964139" cy="8659236"/>
              <a:chOff x="6927850" y="2016125"/>
              <a:chExt cx="1400175" cy="1352550"/>
            </a:xfrm>
            <a:solidFill>
              <a:schemeClr val="bg1"/>
            </a:solidFill>
          </p:grpSpPr>
          <p:sp>
            <p:nvSpPr>
              <p:cNvPr id="44" name="Freeform 86"/>
              <p:cNvSpPr>
                <a:spLocks/>
              </p:cNvSpPr>
              <p:nvPr/>
            </p:nvSpPr>
            <p:spPr bwMode="auto">
              <a:xfrm>
                <a:off x="7035800" y="2016125"/>
                <a:ext cx="614362" cy="387350"/>
              </a:xfrm>
              <a:custGeom>
                <a:avLst/>
                <a:gdLst>
                  <a:gd name="T0" fmla="*/ 348 w 368"/>
                  <a:gd name="T1" fmla="*/ 0 h 231"/>
                  <a:gd name="T2" fmla="*/ 206 w 368"/>
                  <a:gd name="T3" fmla="*/ 26 h 231"/>
                  <a:gd name="T4" fmla="*/ 0 w 368"/>
                  <a:gd name="T5" fmla="*/ 198 h 231"/>
                  <a:gd name="T6" fmla="*/ 56 w 368"/>
                  <a:gd name="T7" fmla="*/ 231 h 231"/>
                  <a:gd name="T8" fmla="*/ 228 w 368"/>
                  <a:gd name="T9" fmla="*/ 86 h 231"/>
                  <a:gd name="T10" fmla="*/ 348 w 368"/>
                  <a:gd name="T11" fmla="*/ 64 h 231"/>
                  <a:gd name="T12" fmla="*/ 365 w 368"/>
                  <a:gd name="T13" fmla="*/ 65 h 231"/>
                  <a:gd name="T14" fmla="*/ 368 w 368"/>
                  <a:gd name="T15" fmla="*/ 0 h 231"/>
                  <a:gd name="T16" fmla="*/ 348 w 368"/>
                  <a:gd name="T17" fmla="*/ 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8" h="231">
                    <a:moveTo>
                      <a:pt x="348" y="0"/>
                    </a:moveTo>
                    <a:cubicBezTo>
                      <a:pt x="301" y="0"/>
                      <a:pt x="253" y="8"/>
                      <a:pt x="206" y="26"/>
                    </a:cubicBezTo>
                    <a:cubicBezTo>
                      <a:pt x="116" y="59"/>
                      <a:pt x="46" y="121"/>
                      <a:pt x="0" y="198"/>
                    </a:cubicBezTo>
                    <a:cubicBezTo>
                      <a:pt x="19" y="209"/>
                      <a:pt x="37" y="220"/>
                      <a:pt x="56" y="231"/>
                    </a:cubicBezTo>
                    <a:cubicBezTo>
                      <a:pt x="94" y="166"/>
                      <a:pt x="153" y="114"/>
                      <a:pt x="228" y="86"/>
                    </a:cubicBezTo>
                    <a:cubicBezTo>
                      <a:pt x="268" y="71"/>
                      <a:pt x="308" y="64"/>
                      <a:pt x="348" y="64"/>
                    </a:cubicBezTo>
                    <a:cubicBezTo>
                      <a:pt x="354" y="64"/>
                      <a:pt x="359" y="64"/>
                      <a:pt x="365" y="65"/>
                    </a:cubicBezTo>
                    <a:cubicBezTo>
                      <a:pt x="368" y="0"/>
                      <a:pt x="368" y="0"/>
                      <a:pt x="368" y="0"/>
                    </a:cubicBezTo>
                    <a:cubicBezTo>
                      <a:pt x="362" y="0"/>
                      <a:pt x="355" y="0"/>
                      <a:pt x="348" y="0"/>
                    </a:cubicBezTo>
                  </a:path>
                </a:pathLst>
              </a:custGeom>
              <a:solidFill>
                <a:schemeClr val="bg1">
                  <a:alpha val="13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5" name="Freeform 87"/>
              <p:cNvSpPr>
                <a:spLocks/>
              </p:cNvSpPr>
              <p:nvPr/>
            </p:nvSpPr>
            <p:spPr bwMode="auto">
              <a:xfrm>
                <a:off x="8031163" y="2228850"/>
                <a:ext cx="296862" cy="822325"/>
              </a:xfrm>
              <a:custGeom>
                <a:avLst/>
                <a:gdLst>
                  <a:gd name="T0" fmla="*/ 47 w 177"/>
                  <a:gd name="T1" fmla="*/ 0 h 492"/>
                  <a:gd name="T2" fmla="*/ 0 w 177"/>
                  <a:gd name="T3" fmla="*/ 44 h 492"/>
                  <a:gd name="T4" fmla="*/ 70 w 177"/>
                  <a:gd name="T5" fmla="*/ 157 h 492"/>
                  <a:gd name="T6" fmla="*/ 40 w 177"/>
                  <a:gd name="T7" fmla="*/ 458 h 492"/>
                  <a:gd name="T8" fmla="*/ 94 w 177"/>
                  <a:gd name="T9" fmla="*/ 492 h 492"/>
                  <a:gd name="T10" fmla="*/ 130 w 177"/>
                  <a:gd name="T11" fmla="*/ 135 h 492"/>
                  <a:gd name="T12" fmla="*/ 47 w 177"/>
                  <a:gd name="T13" fmla="*/ 0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7" h="492">
                    <a:moveTo>
                      <a:pt x="47" y="0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30" y="76"/>
                      <a:pt x="54" y="114"/>
                      <a:pt x="70" y="157"/>
                    </a:cubicBezTo>
                    <a:cubicBezTo>
                      <a:pt x="109" y="261"/>
                      <a:pt x="94" y="371"/>
                      <a:pt x="40" y="458"/>
                    </a:cubicBezTo>
                    <a:cubicBezTo>
                      <a:pt x="94" y="492"/>
                      <a:pt x="94" y="492"/>
                      <a:pt x="94" y="492"/>
                    </a:cubicBezTo>
                    <a:cubicBezTo>
                      <a:pt x="159" y="389"/>
                      <a:pt x="177" y="258"/>
                      <a:pt x="130" y="135"/>
                    </a:cubicBezTo>
                    <a:cubicBezTo>
                      <a:pt x="111" y="83"/>
                      <a:pt x="82" y="38"/>
                      <a:pt x="47" y="0"/>
                    </a:cubicBezTo>
                  </a:path>
                </a:pathLst>
              </a:custGeom>
              <a:solidFill>
                <a:schemeClr val="bg1">
                  <a:alpha val="18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6" name="Freeform 88"/>
              <p:cNvSpPr>
                <a:spLocks/>
              </p:cNvSpPr>
              <p:nvPr/>
            </p:nvSpPr>
            <p:spPr bwMode="auto">
              <a:xfrm>
                <a:off x="7448550" y="3073400"/>
                <a:ext cx="669925" cy="295275"/>
              </a:xfrm>
              <a:custGeom>
                <a:avLst/>
                <a:gdLst>
                  <a:gd name="T0" fmla="*/ 353 w 401"/>
                  <a:gd name="T1" fmla="*/ 0 h 176"/>
                  <a:gd name="T2" fmla="*/ 221 w 401"/>
                  <a:gd name="T3" fmla="*/ 90 h 176"/>
                  <a:gd name="T4" fmla="*/ 101 w 401"/>
                  <a:gd name="T5" fmla="*/ 112 h 176"/>
                  <a:gd name="T6" fmla="*/ 16 w 401"/>
                  <a:gd name="T7" fmla="*/ 101 h 176"/>
                  <a:gd name="T8" fmla="*/ 0 w 401"/>
                  <a:gd name="T9" fmla="*/ 163 h 176"/>
                  <a:gd name="T10" fmla="*/ 101 w 401"/>
                  <a:gd name="T11" fmla="*/ 176 h 176"/>
                  <a:gd name="T12" fmla="*/ 243 w 401"/>
                  <a:gd name="T13" fmla="*/ 150 h 176"/>
                  <a:gd name="T14" fmla="*/ 401 w 401"/>
                  <a:gd name="T15" fmla="*/ 43 h 176"/>
                  <a:gd name="T16" fmla="*/ 353 w 401"/>
                  <a:gd name="T17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01" h="176">
                    <a:moveTo>
                      <a:pt x="353" y="0"/>
                    </a:moveTo>
                    <a:cubicBezTo>
                      <a:pt x="318" y="39"/>
                      <a:pt x="273" y="70"/>
                      <a:pt x="221" y="90"/>
                    </a:cubicBezTo>
                    <a:cubicBezTo>
                      <a:pt x="181" y="105"/>
                      <a:pt x="141" y="112"/>
                      <a:pt x="101" y="112"/>
                    </a:cubicBezTo>
                    <a:cubicBezTo>
                      <a:pt x="72" y="112"/>
                      <a:pt x="44" y="108"/>
                      <a:pt x="16" y="101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33" y="172"/>
                      <a:pt x="67" y="176"/>
                      <a:pt x="101" y="176"/>
                    </a:cubicBezTo>
                    <a:cubicBezTo>
                      <a:pt x="148" y="176"/>
                      <a:pt x="196" y="168"/>
                      <a:pt x="243" y="150"/>
                    </a:cubicBezTo>
                    <a:cubicBezTo>
                      <a:pt x="306" y="127"/>
                      <a:pt x="359" y="89"/>
                      <a:pt x="401" y="43"/>
                    </a:cubicBezTo>
                    <a:cubicBezTo>
                      <a:pt x="353" y="0"/>
                      <a:pt x="353" y="0"/>
                      <a:pt x="353" y="0"/>
                    </a:cubicBezTo>
                  </a:path>
                </a:pathLst>
              </a:custGeom>
              <a:solidFill>
                <a:schemeClr val="bg1">
                  <a:alpha val="22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7" name="Freeform 89"/>
              <p:cNvSpPr>
                <a:spLocks/>
              </p:cNvSpPr>
              <p:nvPr/>
            </p:nvSpPr>
            <p:spPr bwMode="auto">
              <a:xfrm>
                <a:off x="6927850" y="2522538"/>
                <a:ext cx="342900" cy="704850"/>
              </a:xfrm>
              <a:custGeom>
                <a:avLst/>
                <a:gdLst>
                  <a:gd name="T0" fmla="*/ 21 w 205"/>
                  <a:gd name="T1" fmla="*/ 0 h 422"/>
                  <a:gd name="T2" fmla="*/ 34 w 205"/>
                  <a:gd name="T3" fmla="*/ 244 h 422"/>
                  <a:gd name="T4" fmla="*/ 165 w 205"/>
                  <a:gd name="T5" fmla="*/ 422 h 422"/>
                  <a:gd name="T6" fmla="*/ 205 w 205"/>
                  <a:gd name="T7" fmla="*/ 371 h 422"/>
                  <a:gd name="T8" fmla="*/ 94 w 205"/>
                  <a:gd name="T9" fmla="*/ 222 h 422"/>
                  <a:gd name="T10" fmla="*/ 83 w 205"/>
                  <a:gd name="T11" fmla="*/ 16 h 422"/>
                  <a:gd name="T12" fmla="*/ 21 w 205"/>
                  <a:gd name="T13" fmla="*/ 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5" h="422">
                    <a:moveTo>
                      <a:pt x="21" y="0"/>
                    </a:moveTo>
                    <a:cubicBezTo>
                      <a:pt x="0" y="78"/>
                      <a:pt x="3" y="163"/>
                      <a:pt x="34" y="244"/>
                    </a:cubicBezTo>
                    <a:cubicBezTo>
                      <a:pt x="61" y="317"/>
                      <a:pt x="108" y="378"/>
                      <a:pt x="165" y="422"/>
                    </a:cubicBezTo>
                    <a:cubicBezTo>
                      <a:pt x="205" y="371"/>
                      <a:pt x="205" y="371"/>
                      <a:pt x="205" y="371"/>
                    </a:cubicBezTo>
                    <a:cubicBezTo>
                      <a:pt x="156" y="334"/>
                      <a:pt x="117" y="283"/>
                      <a:pt x="94" y="222"/>
                    </a:cubicBezTo>
                    <a:cubicBezTo>
                      <a:pt x="68" y="153"/>
                      <a:pt x="66" y="82"/>
                      <a:pt x="83" y="16"/>
                    </a:cubicBezTo>
                    <a:cubicBezTo>
                      <a:pt x="21" y="0"/>
                      <a:pt x="21" y="0"/>
                      <a:pt x="21" y="0"/>
                    </a:cubicBezTo>
                  </a:path>
                </a:pathLst>
              </a:custGeom>
              <a:solidFill>
                <a:schemeClr val="bg1">
                  <a:alpha val="12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</p:grpSp>
        <p:grpSp>
          <p:nvGrpSpPr>
            <p:cNvPr id="29" name="Group 28"/>
            <p:cNvGrpSpPr/>
            <p:nvPr userDrawn="1"/>
          </p:nvGrpSpPr>
          <p:grpSpPr>
            <a:xfrm rot="13134329">
              <a:off x="189001" y="195572"/>
              <a:ext cx="6880642" cy="6768839"/>
              <a:chOff x="7077869" y="2163763"/>
              <a:chExt cx="1074738" cy="1057275"/>
            </a:xfrm>
            <a:solidFill>
              <a:schemeClr val="bg1"/>
            </a:solidFill>
          </p:grpSpPr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7909719" y="2562225"/>
                <a:ext cx="242888" cy="523875"/>
              </a:xfrm>
              <a:custGeom>
                <a:avLst/>
                <a:gdLst>
                  <a:gd name="T0" fmla="*/ 129 w 146"/>
                  <a:gd name="T1" fmla="*/ 0 h 313"/>
                  <a:gd name="T2" fmla="*/ 80 w 146"/>
                  <a:gd name="T3" fmla="*/ 13 h 313"/>
                  <a:gd name="T4" fmla="*/ 64 w 146"/>
                  <a:gd name="T5" fmla="*/ 188 h 313"/>
                  <a:gd name="T6" fmla="*/ 0 w 146"/>
                  <a:gd name="T7" fmla="*/ 276 h 313"/>
                  <a:gd name="T8" fmla="*/ 34 w 146"/>
                  <a:gd name="T9" fmla="*/ 313 h 313"/>
                  <a:gd name="T10" fmla="*/ 110 w 146"/>
                  <a:gd name="T11" fmla="*/ 209 h 313"/>
                  <a:gd name="T12" fmla="*/ 129 w 146"/>
                  <a:gd name="T13" fmla="*/ 0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6" h="313">
                    <a:moveTo>
                      <a:pt x="129" y="0"/>
                    </a:moveTo>
                    <a:cubicBezTo>
                      <a:pt x="112" y="4"/>
                      <a:pt x="96" y="8"/>
                      <a:pt x="80" y="13"/>
                    </a:cubicBezTo>
                    <a:cubicBezTo>
                      <a:pt x="94" y="69"/>
                      <a:pt x="90" y="131"/>
                      <a:pt x="64" y="188"/>
                    </a:cubicBezTo>
                    <a:cubicBezTo>
                      <a:pt x="49" y="223"/>
                      <a:pt x="27" y="252"/>
                      <a:pt x="0" y="276"/>
                    </a:cubicBezTo>
                    <a:cubicBezTo>
                      <a:pt x="34" y="313"/>
                      <a:pt x="34" y="313"/>
                      <a:pt x="34" y="313"/>
                    </a:cubicBezTo>
                    <a:cubicBezTo>
                      <a:pt x="65" y="285"/>
                      <a:pt x="91" y="250"/>
                      <a:pt x="110" y="209"/>
                    </a:cubicBezTo>
                    <a:cubicBezTo>
                      <a:pt x="141" y="141"/>
                      <a:pt x="146" y="68"/>
                      <a:pt x="129" y="0"/>
                    </a:cubicBezTo>
                  </a:path>
                </a:pathLst>
              </a:custGeom>
              <a:solidFill>
                <a:schemeClr val="bg1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1" name="Freeform 40"/>
              <p:cNvSpPr>
                <a:spLocks/>
              </p:cNvSpPr>
              <p:nvPr/>
            </p:nvSpPr>
            <p:spPr bwMode="auto">
              <a:xfrm>
                <a:off x="7095331" y="2790825"/>
                <a:ext cx="501650" cy="430213"/>
              </a:xfrm>
              <a:custGeom>
                <a:avLst/>
                <a:gdLst>
                  <a:gd name="T0" fmla="*/ 50 w 300"/>
                  <a:gd name="T1" fmla="*/ 0 h 257"/>
                  <a:gd name="T2" fmla="*/ 0 w 300"/>
                  <a:gd name="T3" fmla="*/ 11 h 257"/>
                  <a:gd name="T4" fmla="*/ 178 w 300"/>
                  <a:gd name="T5" fmla="*/ 229 h 257"/>
                  <a:gd name="T6" fmla="*/ 299 w 300"/>
                  <a:gd name="T7" fmla="*/ 257 h 257"/>
                  <a:gd name="T8" fmla="*/ 300 w 300"/>
                  <a:gd name="T9" fmla="*/ 207 h 257"/>
                  <a:gd name="T10" fmla="*/ 199 w 300"/>
                  <a:gd name="T11" fmla="*/ 183 h 257"/>
                  <a:gd name="T12" fmla="*/ 50 w 300"/>
                  <a:gd name="T13" fmla="*/ 0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0" h="257">
                    <a:moveTo>
                      <a:pt x="5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22" y="104"/>
                      <a:pt x="84" y="186"/>
                      <a:pt x="178" y="229"/>
                    </a:cubicBezTo>
                    <a:cubicBezTo>
                      <a:pt x="217" y="247"/>
                      <a:pt x="258" y="256"/>
                      <a:pt x="299" y="257"/>
                    </a:cubicBezTo>
                    <a:cubicBezTo>
                      <a:pt x="300" y="207"/>
                      <a:pt x="300" y="207"/>
                      <a:pt x="300" y="207"/>
                    </a:cubicBezTo>
                    <a:cubicBezTo>
                      <a:pt x="266" y="206"/>
                      <a:pt x="232" y="198"/>
                      <a:pt x="199" y="183"/>
                    </a:cubicBezTo>
                    <a:cubicBezTo>
                      <a:pt x="120" y="147"/>
                      <a:pt x="67" y="78"/>
                      <a:pt x="50" y="0"/>
                    </a:cubicBezTo>
                  </a:path>
                </a:pathLst>
              </a:custGeom>
              <a:solidFill>
                <a:schemeClr val="bg1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7077869" y="2235200"/>
                <a:ext cx="307975" cy="484188"/>
              </a:xfrm>
              <a:custGeom>
                <a:avLst/>
                <a:gdLst>
                  <a:gd name="T0" fmla="*/ 159 w 184"/>
                  <a:gd name="T1" fmla="*/ 0 h 289"/>
                  <a:gd name="T2" fmla="*/ 31 w 184"/>
                  <a:gd name="T3" fmla="*/ 142 h 289"/>
                  <a:gd name="T4" fmla="*/ 3 w 184"/>
                  <a:gd name="T5" fmla="*/ 289 h 289"/>
                  <a:gd name="T6" fmla="*/ 53 w 184"/>
                  <a:gd name="T7" fmla="*/ 286 h 289"/>
                  <a:gd name="T8" fmla="*/ 77 w 184"/>
                  <a:gd name="T9" fmla="*/ 163 h 289"/>
                  <a:gd name="T10" fmla="*/ 184 w 184"/>
                  <a:gd name="T11" fmla="*/ 44 h 289"/>
                  <a:gd name="T12" fmla="*/ 159 w 184"/>
                  <a:gd name="T13" fmla="*/ 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" h="289">
                    <a:moveTo>
                      <a:pt x="159" y="0"/>
                    </a:moveTo>
                    <a:cubicBezTo>
                      <a:pt x="104" y="32"/>
                      <a:pt x="59" y="80"/>
                      <a:pt x="31" y="142"/>
                    </a:cubicBezTo>
                    <a:cubicBezTo>
                      <a:pt x="9" y="190"/>
                      <a:pt x="0" y="240"/>
                      <a:pt x="3" y="289"/>
                    </a:cubicBezTo>
                    <a:cubicBezTo>
                      <a:pt x="53" y="286"/>
                      <a:pt x="53" y="286"/>
                      <a:pt x="53" y="286"/>
                    </a:cubicBezTo>
                    <a:cubicBezTo>
                      <a:pt x="51" y="245"/>
                      <a:pt x="59" y="203"/>
                      <a:pt x="77" y="163"/>
                    </a:cubicBezTo>
                    <a:cubicBezTo>
                      <a:pt x="100" y="111"/>
                      <a:pt x="139" y="70"/>
                      <a:pt x="184" y="44"/>
                    </a:cubicBezTo>
                    <a:cubicBezTo>
                      <a:pt x="159" y="0"/>
                      <a:pt x="159" y="0"/>
                      <a:pt x="159" y="0"/>
                    </a:cubicBezTo>
                  </a:path>
                </a:pathLst>
              </a:custGeom>
              <a:solidFill>
                <a:schemeClr val="bg1">
                  <a:alpha val="4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7544594" y="2163763"/>
                <a:ext cx="523875" cy="304800"/>
              </a:xfrm>
              <a:custGeom>
                <a:avLst/>
                <a:gdLst>
                  <a:gd name="T0" fmla="*/ 40 w 313"/>
                  <a:gd name="T1" fmla="*/ 0 h 182"/>
                  <a:gd name="T2" fmla="*/ 0 w 313"/>
                  <a:gd name="T3" fmla="*/ 2 h 182"/>
                  <a:gd name="T4" fmla="*/ 6 w 313"/>
                  <a:gd name="T5" fmla="*/ 52 h 182"/>
                  <a:gd name="T6" fmla="*/ 40 w 313"/>
                  <a:gd name="T7" fmla="*/ 50 h 182"/>
                  <a:gd name="T8" fmla="*/ 150 w 313"/>
                  <a:gd name="T9" fmla="*/ 74 h 182"/>
                  <a:gd name="T10" fmla="*/ 270 w 313"/>
                  <a:gd name="T11" fmla="*/ 182 h 182"/>
                  <a:gd name="T12" fmla="*/ 313 w 313"/>
                  <a:gd name="T13" fmla="*/ 157 h 182"/>
                  <a:gd name="T14" fmla="*/ 171 w 313"/>
                  <a:gd name="T15" fmla="*/ 28 h 182"/>
                  <a:gd name="T16" fmla="*/ 40 w 313"/>
                  <a:gd name="T17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3" h="182">
                    <a:moveTo>
                      <a:pt x="40" y="0"/>
                    </a:moveTo>
                    <a:cubicBezTo>
                      <a:pt x="27" y="0"/>
                      <a:pt x="13" y="0"/>
                      <a:pt x="0" y="2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17" y="51"/>
                      <a:pt x="29" y="50"/>
                      <a:pt x="40" y="50"/>
                    </a:cubicBezTo>
                    <a:cubicBezTo>
                      <a:pt x="77" y="50"/>
                      <a:pt x="115" y="58"/>
                      <a:pt x="150" y="74"/>
                    </a:cubicBezTo>
                    <a:cubicBezTo>
                      <a:pt x="202" y="98"/>
                      <a:pt x="243" y="136"/>
                      <a:pt x="270" y="182"/>
                    </a:cubicBezTo>
                    <a:cubicBezTo>
                      <a:pt x="313" y="157"/>
                      <a:pt x="313" y="157"/>
                      <a:pt x="313" y="157"/>
                    </a:cubicBezTo>
                    <a:cubicBezTo>
                      <a:pt x="282" y="102"/>
                      <a:pt x="233" y="56"/>
                      <a:pt x="171" y="28"/>
                    </a:cubicBezTo>
                    <a:cubicBezTo>
                      <a:pt x="129" y="9"/>
                      <a:pt x="84" y="0"/>
                      <a:pt x="40" y="0"/>
                    </a:cubicBezTo>
                  </a:path>
                </a:pathLst>
              </a:custGeom>
              <a:solidFill>
                <a:schemeClr val="bg1">
                  <a:alpha val="33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</p:grpSp>
        <p:grpSp>
          <p:nvGrpSpPr>
            <p:cNvPr id="30" name="Group 29"/>
            <p:cNvGrpSpPr/>
            <p:nvPr userDrawn="1"/>
          </p:nvGrpSpPr>
          <p:grpSpPr>
            <a:xfrm rot="11280500">
              <a:off x="-2082523" y="-2014975"/>
              <a:ext cx="11423690" cy="11189932"/>
              <a:chOff x="8685213" y="1692275"/>
              <a:chExt cx="1784350" cy="1747838"/>
            </a:xfrm>
            <a:solidFill>
              <a:schemeClr val="bg1">
                <a:alpha val="6000"/>
              </a:schemeClr>
            </a:solidFill>
          </p:grpSpPr>
          <p:sp>
            <p:nvSpPr>
              <p:cNvPr id="36" name="Freeform 218"/>
              <p:cNvSpPr>
                <a:spLocks/>
              </p:cNvSpPr>
              <p:nvPr/>
            </p:nvSpPr>
            <p:spPr bwMode="auto">
              <a:xfrm>
                <a:off x="9464676" y="2998788"/>
                <a:ext cx="820738" cy="441325"/>
              </a:xfrm>
              <a:custGeom>
                <a:avLst/>
                <a:gdLst>
                  <a:gd name="T0" fmla="*/ 424 w 491"/>
                  <a:gd name="T1" fmla="*/ 0 h 264"/>
                  <a:gd name="T2" fmla="*/ 188 w 491"/>
                  <a:gd name="T3" fmla="*/ 163 h 264"/>
                  <a:gd name="T4" fmla="*/ 12 w 491"/>
                  <a:gd name="T5" fmla="*/ 173 h 264"/>
                  <a:gd name="T6" fmla="*/ 0 w 491"/>
                  <a:gd name="T7" fmla="*/ 254 h 264"/>
                  <a:gd name="T8" fmla="*/ 209 w 491"/>
                  <a:gd name="T9" fmla="*/ 242 h 264"/>
                  <a:gd name="T10" fmla="*/ 491 w 491"/>
                  <a:gd name="T11" fmla="*/ 48 h 264"/>
                  <a:gd name="T12" fmla="*/ 424 w 491"/>
                  <a:gd name="T13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1" h="264">
                    <a:moveTo>
                      <a:pt x="424" y="0"/>
                    </a:moveTo>
                    <a:cubicBezTo>
                      <a:pt x="368" y="77"/>
                      <a:pt x="287" y="136"/>
                      <a:pt x="188" y="163"/>
                    </a:cubicBezTo>
                    <a:cubicBezTo>
                      <a:pt x="129" y="179"/>
                      <a:pt x="69" y="182"/>
                      <a:pt x="12" y="173"/>
                    </a:cubicBezTo>
                    <a:cubicBezTo>
                      <a:pt x="0" y="254"/>
                      <a:pt x="0" y="254"/>
                      <a:pt x="0" y="254"/>
                    </a:cubicBezTo>
                    <a:cubicBezTo>
                      <a:pt x="68" y="264"/>
                      <a:pt x="139" y="261"/>
                      <a:pt x="209" y="242"/>
                    </a:cubicBezTo>
                    <a:cubicBezTo>
                      <a:pt x="327" y="210"/>
                      <a:pt x="424" y="140"/>
                      <a:pt x="491" y="48"/>
                    </a:cubicBezTo>
                    <a:cubicBezTo>
                      <a:pt x="469" y="32"/>
                      <a:pt x="446" y="16"/>
                      <a:pt x="4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37" name="Freeform 219"/>
              <p:cNvSpPr>
                <a:spLocks/>
              </p:cNvSpPr>
              <p:nvPr/>
            </p:nvSpPr>
            <p:spPr bwMode="auto">
              <a:xfrm>
                <a:off x="8685213" y="2046288"/>
                <a:ext cx="333375" cy="1052513"/>
              </a:xfrm>
              <a:custGeom>
                <a:avLst/>
                <a:gdLst>
                  <a:gd name="T0" fmla="*/ 133 w 199"/>
                  <a:gd name="T1" fmla="*/ 0 h 629"/>
                  <a:gd name="T2" fmla="*/ 44 w 199"/>
                  <a:gd name="T3" fmla="*/ 449 h 629"/>
                  <a:gd name="T4" fmla="*/ 134 w 199"/>
                  <a:gd name="T5" fmla="*/ 629 h 629"/>
                  <a:gd name="T6" fmla="*/ 199 w 199"/>
                  <a:gd name="T7" fmla="*/ 579 h 629"/>
                  <a:gd name="T8" fmla="*/ 123 w 199"/>
                  <a:gd name="T9" fmla="*/ 427 h 629"/>
                  <a:gd name="T10" fmla="*/ 198 w 199"/>
                  <a:gd name="T11" fmla="*/ 50 h 629"/>
                  <a:gd name="T12" fmla="*/ 133 w 199"/>
                  <a:gd name="T13" fmla="*/ 0 h 6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9" h="629">
                    <a:moveTo>
                      <a:pt x="133" y="0"/>
                    </a:moveTo>
                    <a:cubicBezTo>
                      <a:pt x="38" y="123"/>
                      <a:pt x="0" y="287"/>
                      <a:pt x="44" y="449"/>
                    </a:cubicBezTo>
                    <a:cubicBezTo>
                      <a:pt x="62" y="516"/>
                      <a:pt x="93" y="577"/>
                      <a:pt x="134" y="629"/>
                    </a:cubicBezTo>
                    <a:cubicBezTo>
                      <a:pt x="199" y="579"/>
                      <a:pt x="199" y="579"/>
                      <a:pt x="199" y="579"/>
                    </a:cubicBezTo>
                    <a:cubicBezTo>
                      <a:pt x="165" y="535"/>
                      <a:pt x="138" y="484"/>
                      <a:pt x="123" y="427"/>
                    </a:cubicBezTo>
                    <a:cubicBezTo>
                      <a:pt x="86" y="291"/>
                      <a:pt x="118" y="153"/>
                      <a:pt x="198" y="50"/>
                    </a:cubicBezTo>
                    <a:cubicBezTo>
                      <a:pt x="133" y="0"/>
                      <a:pt x="133" y="0"/>
                      <a:pt x="13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38" name="Freeform 220"/>
              <p:cNvSpPr>
                <a:spLocks/>
              </p:cNvSpPr>
              <p:nvPr/>
            </p:nvSpPr>
            <p:spPr bwMode="auto">
              <a:xfrm>
                <a:off x="9007476" y="1692275"/>
                <a:ext cx="874713" cy="346075"/>
              </a:xfrm>
              <a:custGeom>
                <a:avLst/>
                <a:gdLst>
                  <a:gd name="T0" fmla="*/ 495 w 523"/>
                  <a:gd name="T1" fmla="*/ 119 h 207"/>
                  <a:gd name="T2" fmla="*/ 523 w 523"/>
                  <a:gd name="T3" fmla="*/ 42 h 207"/>
                  <a:gd name="T4" fmla="*/ 213 w 523"/>
                  <a:gd name="T5" fmla="*/ 29 h 207"/>
                  <a:gd name="T6" fmla="*/ 0 w 523"/>
                  <a:gd name="T7" fmla="*/ 146 h 207"/>
                  <a:gd name="T8" fmla="*/ 55 w 523"/>
                  <a:gd name="T9" fmla="*/ 207 h 207"/>
                  <a:gd name="T10" fmla="*/ 235 w 523"/>
                  <a:gd name="T11" fmla="*/ 108 h 207"/>
                  <a:gd name="T12" fmla="*/ 495 w 523"/>
                  <a:gd name="T13" fmla="*/ 119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3" h="207">
                    <a:moveTo>
                      <a:pt x="495" y="119"/>
                    </a:moveTo>
                    <a:cubicBezTo>
                      <a:pt x="523" y="42"/>
                      <a:pt x="523" y="42"/>
                      <a:pt x="523" y="42"/>
                    </a:cubicBezTo>
                    <a:cubicBezTo>
                      <a:pt x="427" y="7"/>
                      <a:pt x="320" y="0"/>
                      <a:pt x="213" y="29"/>
                    </a:cubicBezTo>
                    <a:cubicBezTo>
                      <a:pt x="131" y="51"/>
                      <a:pt x="59" y="92"/>
                      <a:pt x="0" y="146"/>
                    </a:cubicBezTo>
                    <a:cubicBezTo>
                      <a:pt x="55" y="207"/>
                      <a:pt x="55" y="207"/>
                      <a:pt x="55" y="207"/>
                    </a:cubicBezTo>
                    <a:cubicBezTo>
                      <a:pt x="105" y="162"/>
                      <a:pt x="165" y="127"/>
                      <a:pt x="235" y="108"/>
                    </a:cubicBezTo>
                    <a:cubicBezTo>
                      <a:pt x="324" y="84"/>
                      <a:pt x="414" y="90"/>
                      <a:pt x="495" y="1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39" name="Freeform 221"/>
              <p:cNvSpPr>
                <a:spLocks/>
              </p:cNvSpPr>
              <p:nvPr/>
            </p:nvSpPr>
            <p:spPr bwMode="auto">
              <a:xfrm>
                <a:off x="10082213" y="1943100"/>
                <a:ext cx="387350" cy="923925"/>
              </a:xfrm>
              <a:custGeom>
                <a:avLst/>
                <a:gdLst>
                  <a:gd name="T0" fmla="*/ 56 w 231"/>
                  <a:gd name="T1" fmla="*/ 0 h 553"/>
                  <a:gd name="T2" fmla="*/ 0 w 231"/>
                  <a:gd name="T3" fmla="*/ 60 h 553"/>
                  <a:gd name="T4" fmla="*/ 123 w 231"/>
                  <a:gd name="T5" fmla="*/ 263 h 553"/>
                  <a:gd name="T6" fmla="*/ 111 w 231"/>
                  <a:gd name="T7" fmla="*/ 525 h 553"/>
                  <a:gd name="T8" fmla="*/ 188 w 231"/>
                  <a:gd name="T9" fmla="*/ 553 h 553"/>
                  <a:gd name="T10" fmla="*/ 202 w 231"/>
                  <a:gd name="T11" fmla="*/ 241 h 553"/>
                  <a:gd name="T12" fmla="*/ 56 w 231"/>
                  <a:gd name="T13" fmla="*/ 0 h 5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1" h="553">
                    <a:moveTo>
                      <a:pt x="56" y="0"/>
                    </a:moveTo>
                    <a:cubicBezTo>
                      <a:pt x="0" y="60"/>
                      <a:pt x="0" y="60"/>
                      <a:pt x="0" y="60"/>
                    </a:cubicBezTo>
                    <a:cubicBezTo>
                      <a:pt x="57" y="113"/>
                      <a:pt x="101" y="182"/>
                      <a:pt x="123" y="263"/>
                    </a:cubicBezTo>
                    <a:cubicBezTo>
                      <a:pt x="147" y="353"/>
                      <a:pt x="141" y="444"/>
                      <a:pt x="111" y="525"/>
                    </a:cubicBezTo>
                    <a:cubicBezTo>
                      <a:pt x="188" y="553"/>
                      <a:pt x="188" y="553"/>
                      <a:pt x="188" y="553"/>
                    </a:cubicBezTo>
                    <a:cubicBezTo>
                      <a:pt x="224" y="457"/>
                      <a:pt x="231" y="348"/>
                      <a:pt x="202" y="241"/>
                    </a:cubicBezTo>
                    <a:cubicBezTo>
                      <a:pt x="176" y="145"/>
                      <a:pt x="124" y="63"/>
                      <a:pt x="56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</p:grpSp>
        <p:grpSp>
          <p:nvGrpSpPr>
            <p:cNvPr id="31" name="Group 30"/>
            <p:cNvGrpSpPr/>
            <p:nvPr userDrawn="1"/>
          </p:nvGrpSpPr>
          <p:grpSpPr>
            <a:xfrm rot="5400000">
              <a:off x="-3310623" y="-2972765"/>
              <a:ext cx="13754458" cy="13262312"/>
              <a:chOff x="7213600" y="2286000"/>
              <a:chExt cx="842962" cy="812800"/>
            </a:xfrm>
          </p:grpSpPr>
          <p:sp>
            <p:nvSpPr>
              <p:cNvPr id="32" name="Freeform 174"/>
              <p:cNvSpPr>
                <a:spLocks/>
              </p:cNvSpPr>
              <p:nvPr/>
            </p:nvSpPr>
            <p:spPr bwMode="auto">
              <a:xfrm>
                <a:off x="7289800" y="2286000"/>
                <a:ext cx="381000" cy="215900"/>
              </a:xfrm>
              <a:custGeom>
                <a:avLst/>
                <a:gdLst>
                  <a:gd name="T0" fmla="*/ 202 w 228"/>
                  <a:gd name="T1" fmla="*/ 0 h 129"/>
                  <a:gd name="T2" fmla="*/ 130 w 228"/>
                  <a:gd name="T3" fmla="*/ 11 h 129"/>
                  <a:gd name="T4" fmla="*/ 0 w 228"/>
                  <a:gd name="T5" fmla="*/ 107 h 129"/>
                  <a:gd name="T6" fmla="*/ 32 w 228"/>
                  <a:gd name="T7" fmla="*/ 129 h 129"/>
                  <a:gd name="T8" fmla="*/ 141 w 228"/>
                  <a:gd name="T9" fmla="*/ 48 h 129"/>
                  <a:gd name="T10" fmla="*/ 202 w 228"/>
                  <a:gd name="T11" fmla="*/ 38 h 129"/>
                  <a:gd name="T12" fmla="*/ 224 w 228"/>
                  <a:gd name="T13" fmla="*/ 40 h 129"/>
                  <a:gd name="T14" fmla="*/ 228 w 228"/>
                  <a:gd name="T15" fmla="*/ 1 h 129"/>
                  <a:gd name="T16" fmla="*/ 202 w 228"/>
                  <a:gd name="T17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129">
                    <a:moveTo>
                      <a:pt x="202" y="0"/>
                    </a:moveTo>
                    <a:cubicBezTo>
                      <a:pt x="178" y="0"/>
                      <a:pt x="154" y="3"/>
                      <a:pt x="130" y="11"/>
                    </a:cubicBezTo>
                    <a:cubicBezTo>
                      <a:pt x="75" y="28"/>
                      <a:pt x="30" y="63"/>
                      <a:pt x="0" y="107"/>
                    </a:cubicBezTo>
                    <a:cubicBezTo>
                      <a:pt x="11" y="114"/>
                      <a:pt x="22" y="121"/>
                      <a:pt x="32" y="129"/>
                    </a:cubicBezTo>
                    <a:cubicBezTo>
                      <a:pt x="58" y="91"/>
                      <a:pt x="95" y="62"/>
                      <a:pt x="141" y="48"/>
                    </a:cubicBezTo>
                    <a:cubicBezTo>
                      <a:pt x="162" y="41"/>
                      <a:pt x="182" y="38"/>
                      <a:pt x="202" y="38"/>
                    </a:cubicBezTo>
                    <a:cubicBezTo>
                      <a:pt x="209" y="38"/>
                      <a:pt x="217" y="39"/>
                      <a:pt x="224" y="40"/>
                    </a:cubicBezTo>
                    <a:cubicBezTo>
                      <a:pt x="228" y="1"/>
                      <a:pt x="228" y="1"/>
                      <a:pt x="228" y="1"/>
                    </a:cubicBezTo>
                    <a:cubicBezTo>
                      <a:pt x="220" y="0"/>
                      <a:pt x="211" y="0"/>
                      <a:pt x="202" y="0"/>
                    </a:cubicBezTo>
                  </a:path>
                </a:pathLst>
              </a:custGeom>
              <a:solidFill>
                <a:schemeClr val="bg1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>
                  <a:solidFill>
                    <a:srgbClr val="1C5576"/>
                  </a:solidFill>
                </a:endParaRPr>
              </a:p>
            </p:txBody>
          </p:sp>
          <p:sp>
            <p:nvSpPr>
              <p:cNvPr id="33" name="Freeform 175"/>
              <p:cNvSpPr>
                <a:spLocks/>
              </p:cNvSpPr>
              <p:nvPr/>
            </p:nvSpPr>
            <p:spPr bwMode="auto">
              <a:xfrm>
                <a:off x="7889875" y="2432050"/>
                <a:ext cx="166687" cy="496888"/>
              </a:xfrm>
              <a:custGeom>
                <a:avLst/>
                <a:gdLst>
                  <a:gd name="T0" fmla="*/ 30 w 99"/>
                  <a:gd name="T1" fmla="*/ 0 h 297"/>
                  <a:gd name="T2" fmla="*/ 0 w 99"/>
                  <a:gd name="T3" fmla="*/ 25 h 297"/>
                  <a:gd name="T4" fmla="*/ 38 w 99"/>
                  <a:gd name="T5" fmla="*/ 95 h 297"/>
                  <a:gd name="T6" fmla="*/ 10 w 99"/>
                  <a:gd name="T7" fmla="*/ 275 h 297"/>
                  <a:gd name="T8" fmla="*/ 41 w 99"/>
                  <a:gd name="T9" fmla="*/ 297 h 297"/>
                  <a:gd name="T10" fmla="*/ 75 w 99"/>
                  <a:gd name="T11" fmla="*/ 84 h 297"/>
                  <a:gd name="T12" fmla="*/ 30 w 99"/>
                  <a:gd name="T13" fmla="*/ 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297">
                    <a:moveTo>
                      <a:pt x="30" y="0"/>
                    </a:moveTo>
                    <a:cubicBezTo>
                      <a:pt x="0" y="25"/>
                      <a:pt x="0" y="25"/>
                      <a:pt x="0" y="25"/>
                    </a:cubicBezTo>
                    <a:cubicBezTo>
                      <a:pt x="17" y="45"/>
                      <a:pt x="30" y="69"/>
                      <a:pt x="38" y="95"/>
                    </a:cubicBezTo>
                    <a:cubicBezTo>
                      <a:pt x="58" y="159"/>
                      <a:pt x="45" y="225"/>
                      <a:pt x="10" y="275"/>
                    </a:cubicBezTo>
                    <a:cubicBezTo>
                      <a:pt x="41" y="297"/>
                      <a:pt x="41" y="297"/>
                      <a:pt x="41" y="297"/>
                    </a:cubicBezTo>
                    <a:cubicBezTo>
                      <a:pt x="84" y="238"/>
                      <a:pt x="99" y="159"/>
                      <a:pt x="75" y="84"/>
                    </a:cubicBezTo>
                    <a:cubicBezTo>
                      <a:pt x="66" y="52"/>
                      <a:pt x="50" y="24"/>
                      <a:pt x="30" y="0"/>
                    </a:cubicBezTo>
                  </a:path>
                </a:pathLst>
              </a:custGeom>
              <a:solidFill>
                <a:schemeClr val="bg1">
                  <a:alpha val="11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34" name="Freeform 176"/>
              <p:cNvSpPr>
                <a:spLocks/>
              </p:cNvSpPr>
              <p:nvPr/>
            </p:nvSpPr>
            <p:spPr bwMode="auto">
              <a:xfrm>
                <a:off x="7504112" y="2936875"/>
                <a:ext cx="409575" cy="161925"/>
              </a:xfrm>
              <a:custGeom>
                <a:avLst/>
                <a:gdLst>
                  <a:gd name="T0" fmla="*/ 218 w 245"/>
                  <a:gd name="T1" fmla="*/ 0 h 97"/>
                  <a:gd name="T2" fmla="*/ 135 w 245"/>
                  <a:gd name="T3" fmla="*/ 49 h 97"/>
                  <a:gd name="T4" fmla="*/ 74 w 245"/>
                  <a:gd name="T5" fmla="*/ 59 h 97"/>
                  <a:gd name="T6" fmla="*/ 11 w 245"/>
                  <a:gd name="T7" fmla="*/ 49 h 97"/>
                  <a:gd name="T8" fmla="*/ 0 w 245"/>
                  <a:gd name="T9" fmla="*/ 86 h 97"/>
                  <a:gd name="T10" fmla="*/ 74 w 245"/>
                  <a:gd name="T11" fmla="*/ 97 h 97"/>
                  <a:gd name="T12" fmla="*/ 146 w 245"/>
                  <a:gd name="T13" fmla="*/ 86 h 97"/>
                  <a:gd name="T14" fmla="*/ 245 w 245"/>
                  <a:gd name="T15" fmla="*/ 27 h 97"/>
                  <a:gd name="T16" fmla="*/ 218 w 245"/>
                  <a:gd name="T17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5" h="97">
                    <a:moveTo>
                      <a:pt x="218" y="0"/>
                    </a:moveTo>
                    <a:cubicBezTo>
                      <a:pt x="195" y="22"/>
                      <a:pt x="167" y="39"/>
                      <a:pt x="135" y="49"/>
                    </a:cubicBezTo>
                    <a:cubicBezTo>
                      <a:pt x="115" y="56"/>
                      <a:pt x="94" y="59"/>
                      <a:pt x="74" y="59"/>
                    </a:cubicBezTo>
                    <a:cubicBezTo>
                      <a:pt x="53" y="59"/>
                      <a:pt x="31" y="55"/>
                      <a:pt x="11" y="49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23" y="93"/>
                      <a:pt x="48" y="97"/>
                      <a:pt x="74" y="97"/>
                    </a:cubicBezTo>
                    <a:cubicBezTo>
                      <a:pt x="98" y="97"/>
                      <a:pt x="122" y="94"/>
                      <a:pt x="146" y="86"/>
                    </a:cubicBezTo>
                    <a:cubicBezTo>
                      <a:pt x="185" y="74"/>
                      <a:pt x="218" y="54"/>
                      <a:pt x="245" y="27"/>
                    </a:cubicBezTo>
                    <a:cubicBezTo>
                      <a:pt x="218" y="0"/>
                      <a:pt x="218" y="0"/>
                      <a:pt x="218" y="0"/>
                    </a:cubicBezTo>
                  </a:path>
                </a:pathLst>
              </a:custGeom>
              <a:solidFill>
                <a:schemeClr val="bg1">
                  <a:alpha val="7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  <p:sp>
            <p:nvSpPr>
              <p:cNvPr id="35" name="Freeform 177"/>
              <p:cNvSpPr>
                <a:spLocks/>
              </p:cNvSpPr>
              <p:nvPr/>
            </p:nvSpPr>
            <p:spPr bwMode="auto">
              <a:xfrm>
                <a:off x="7213600" y="2566988"/>
                <a:ext cx="190500" cy="433388"/>
              </a:xfrm>
              <a:custGeom>
                <a:avLst/>
                <a:gdLst>
                  <a:gd name="T0" fmla="*/ 17 w 114"/>
                  <a:gd name="T1" fmla="*/ 0 h 259"/>
                  <a:gd name="T2" fmla="*/ 16 w 114"/>
                  <a:gd name="T3" fmla="*/ 147 h 259"/>
                  <a:gd name="T4" fmla="*/ 89 w 114"/>
                  <a:gd name="T5" fmla="*/ 259 h 259"/>
                  <a:gd name="T6" fmla="*/ 114 w 114"/>
                  <a:gd name="T7" fmla="*/ 230 h 259"/>
                  <a:gd name="T8" fmla="*/ 53 w 114"/>
                  <a:gd name="T9" fmla="*/ 136 h 259"/>
                  <a:gd name="T10" fmla="*/ 53 w 114"/>
                  <a:gd name="T11" fmla="*/ 12 h 259"/>
                  <a:gd name="T12" fmla="*/ 17 w 114"/>
                  <a:gd name="T13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4" h="259">
                    <a:moveTo>
                      <a:pt x="17" y="0"/>
                    </a:moveTo>
                    <a:cubicBezTo>
                      <a:pt x="2" y="46"/>
                      <a:pt x="0" y="97"/>
                      <a:pt x="16" y="147"/>
                    </a:cubicBezTo>
                    <a:cubicBezTo>
                      <a:pt x="30" y="192"/>
                      <a:pt x="55" y="230"/>
                      <a:pt x="89" y="259"/>
                    </a:cubicBezTo>
                    <a:cubicBezTo>
                      <a:pt x="114" y="230"/>
                      <a:pt x="114" y="230"/>
                      <a:pt x="114" y="230"/>
                    </a:cubicBezTo>
                    <a:cubicBezTo>
                      <a:pt x="86" y="205"/>
                      <a:pt x="64" y="174"/>
                      <a:pt x="53" y="136"/>
                    </a:cubicBezTo>
                    <a:cubicBezTo>
                      <a:pt x="40" y="94"/>
                      <a:pt x="41" y="51"/>
                      <a:pt x="53" y="12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solidFill>
                <a:schemeClr val="bg1">
                  <a:alpha val="41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99" dirty="0"/>
              </a:p>
            </p:txBody>
          </p:sp>
        </p:grpSp>
      </p:grpSp>
      <p:pic>
        <p:nvPicPr>
          <p:cNvPr id="48" name="Picture 47"/>
          <p:cNvPicPr>
            <a:picLocks noChangeAspect="1"/>
          </p:cNvPicPr>
          <p:nvPr userDrawn="1"/>
        </p:nvPicPr>
        <p:blipFill rotWithShape="1">
          <a:blip r:embed="rId6" cstate="screen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88825" cy="6858000"/>
          </a:xfrm>
          <a:prstGeom prst="rect">
            <a:avLst/>
          </a:prstGeom>
        </p:spPr>
      </p:pic>
      <p:pic>
        <p:nvPicPr>
          <p:cNvPr id="26" name="Picture 25" descr="Sandy_Schwartz_322.jpg">
            <a:extLst>
              <a:ext uri="{FF2B5EF4-FFF2-40B4-BE49-F238E27FC236}">
                <a16:creationId xmlns:a16="http://schemas.microsoft.com/office/drawing/2014/main" id="{03A86098-2AA7-409A-A0B6-7096477724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alphaModFix amt="23000"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9219" y="-407679"/>
            <a:ext cx="12598044" cy="1187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0578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7">
            <a:extLst>
              <a:ext uri="{FF2B5EF4-FFF2-40B4-BE49-F238E27FC236}">
                <a16:creationId xmlns:a16="http://schemas.microsoft.com/office/drawing/2014/main" id="{6C46F9B8-CEF3-4C55-92B3-B09C139DEB2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screen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25000"/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51" y="4230"/>
            <a:ext cx="12180722" cy="6853773"/>
          </a:xfrm>
          <a:prstGeom prst="rect">
            <a:avLst/>
          </a:prstGeom>
          <a:solidFill>
            <a:schemeClr val="bg1"/>
          </a:solidFill>
          <a:extLst/>
        </p:spPr>
      </p:pic>
      <p:sp>
        <p:nvSpPr>
          <p:cNvPr id="14" name="Rectangle 13"/>
          <p:cNvSpPr/>
          <p:nvPr userDrawn="1"/>
        </p:nvSpPr>
        <p:spPr>
          <a:xfrm>
            <a:off x="4051" y="0"/>
            <a:ext cx="12188825" cy="6858000"/>
          </a:xfrm>
          <a:prstGeom prst="rect">
            <a:avLst/>
          </a:prstGeom>
          <a:solidFill>
            <a:srgbClr val="08569A">
              <a:alpha val="9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52" tIns="45677" rIns="91352" bIns="45677" rtlCol="0" anchor="ctr"/>
          <a:lstStyle/>
          <a:p>
            <a:pPr algn="ctr" defTabSz="608845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260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349CD73-73A1-4E15-8D17-ED62666ADB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30574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5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49920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169" r:id="rId2"/>
    <p:sldLayoutId id="2147484177" r:id="rId3"/>
    <p:sldLayoutId id="2147484178" r:id="rId4"/>
  </p:sldLayoutIdLst>
  <p:transition>
    <p:fade/>
  </p:transition>
  <p:txStyles>
    <p:titleStyle>
      <a:lvl1pPr algn="l" defTabSz="457097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74" indent="-114274" algn="l" defTabSz="45709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23" indent="-114274" algn="l" defTabSz="457097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371" indent="-114274" algn="l" defTabSz="457097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99920" indent="-114274" algn="l" defTabSz="457097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469" indent="-114274" algn="l" defTabSz="457097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017" indent="-114274" algn="l" defTabSz="457097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566" indent="-114274" algn="l" defTabSz="457097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114" indent="-114274" algn="l" defTabSz="457097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2663" indent="-114274" algn="l" defTabSz="457097" rtl="0" eaLnBrk="1" latinLnBrk="0" hangingPunct="1">
        <a:lnSpc>
          <a:spcPct val="90000"/>
        </a:lnSpc>
        <a:spcBef>
          <a:spcPts val="25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9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49" algn="l" defTabSz="45709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097" algn="l" defTabSz="45709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646" algn="l" defTabSz="45709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194" algn="l" defTabSz="45709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743" algn="l" defTabSz="45709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291" algn="l" defTabSz="45709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599840" algn="l" defTabSz="45709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389" algn="l" defTabSz="457097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5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6.png"/><Relationship Id="rId12" Type="http://schemas.openxmlformats.org/officeDocument/2006/relationships/image" Target="../media/image41.jpeg"/><Relationship Id="rId17" Type="http://schemas.openxmlformats.org/officeDocument/2006/relationships/image" Target="../media/image7.png"/><Relationship Id="rId2" Type="http://schemas.openxmlformats.org/officeDocument/2006/relationships/tags" Target="../tags/tag17.xml"/><Relationship Id="rId16" Type="http://schemas.openxmlformats.org/officeDocument/2006/relationships/image" Target="../media/image45.jpe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11" Type="http://schemas.openxmlformats.org/officeDocument/2006/relationships/image" Target="../media/image40.jpe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44.jpeg"/><Relationship Id="rId10" Type="http://schemas.openxmlformats.org/officeDocument/2006/relationships/image" Target="../media/image39.jpe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38.jpeg"/><Relationship Id="rId14" Type="http://schemas.openxmlformats.org/officeDocument/2006/relationships/image" Target="../media/image4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6.pn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g"/><Relationship Id="rId13" Type="http://schemas.openxmlformats.org/officeDocument/2006/relationships/image" Target="../media/image53.png"/><Relationship Id="rId3" Type="http://schemas.openxmlformats.org/officeDocument/2006/relationships/tags" Target="../tags/tag21.xml"/><Relationship Id="rId7" Type="http://schemas.openxmlformats.org/officeDocument/2006/relationships/image" Target="../media/image5.emf"/><Relationship Id="rId12" Type="http://schemas.openxmlformats.org/officeDocument/2006/relationships/image" Target="../media/image52.png"/><Relationship Id="rId17" Type="http://schemas.openxmlformats.org/officeDocument/2006/relationships/image" Target="../media/image7.png"/><Relationship Id="rId2" Type="http://schemas.openxmlformats.org/officeDocument/2006/relationships/tags" Target="../tags/tag20.xml"/><Relationship Id="rId16" Type="http://schemas.openxmlformats.org/officeDocument/2006/relationships/image" Target="../media/image56.png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51.png"/><Relationship Id="rId5" Type="http://schemas.openxmlformats.org/officeDocument/2006/relationships/notesSlide" Target="../notesSlides/notesSlide13.xml"/><Relationship Id="rId15" Type="http://schemas.openxmlformats.org/officeDocument/2006/relationships/image" Target="../media/image55.png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9.png"/><Relationship Id="rId14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emf"/><Relationship Id="rId12" Type="http://schemas.openxmlformats.org/officeDocument/2006/relationships/image" Target="../media/image11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1.svg"/><Relationship Id="rId5" Type="http://schemas.openxmlformats.org/officeDocument/2006/relationships/image" Target="../media/image9.jpeg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84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26" Type="http://schemas.openxmlformats.org/officeDocument/2006/relationships/image" Target="../media/image30.png"/><Relationship Id="rId3" Type="http://schemas.openxmlformats.org/officeDocument/2006/relationships/tags" Target="../tags/tag10.xml"/><Relationship Id="rId21" Type="http://schemas.openxmlformats.org/officeDocument/2006/relationships/image" Target="../media/image25.png"/><Relationship Id="rId7" Type="http://schemas.openxmlformats.org/officeDocument/2006/relationships/image" Target="../media/image5.emf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5" Type="http://schemas.openxmlformats.org/officeDocument/2006/relationships/image" Target="../media/image29.png"/><Relationship Id="rId2" Type="http://schemas.openxmlformats.org/officeDocument/2006/relationships/tags" Target="../tags/tag9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5.png"/><Relationship Id="rId24" Type="http://schemas.openxmlformats.org/officeDocument/2006/relationships/image" Target="../media/image28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28" Type="http://schemas.openxmlformats.org/officeDocument/2006/relationships/image" Target="../media/image7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Relationship Id="rId27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32.jp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32.jp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3.jp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99" descr="C:\Users\sunitha\Desktop\elementfleet-herolarge.jfif"/>
          <p:cNvPicPr>
            <a:picLocks noChangeAspect="1" noChangeArrowheads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" y="0"/>
            <a:ext cx="1218468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344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13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4143" y="0"/>
            <a:ext cx="12184682" cy="6858000"/>
          </a:xfrm>
          <a:prstGeom prst="rect">
            <a:avLst/>
          </a:prstGeom>
          <a:solidFill>
            <a:schemeClr val="tx1">
              <a:lumMod val="5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6" name="Parallelogram 35">
            <a:extLst>
              <a:ext uri="{FF2B5EF4-FFF2-40B4-BE49-F238E27FC236}">
                <a16:creationId xmlns:a16="http://schemas.microsoft.com/office/drawing/2014/main" id="{C28F7EDB-73D4-4363-8566-4A9FE696A895}"/>
              </a:ext>
            </a:extLst>
          </p:cNvPr>
          <p:cNvSpPr>
            <a:spLocks/>
          </p:cNvSpPr>
          <p:nvPr/>
        </p:nvSpPr>
        <p:spPr>
          <a:xfrm>
            <a:off x="-1920143" y="-291402"/>
            <a:ext cx="14365027" cy="7390562"/>
          </a:xfrm>
          <a:prstGeom prst="parallelogram">
            <a:avLst>
              <a:gd name="adj" fmla="val 43454"/>
            </a:avLst>
          </a:prstGeom>
          <a:solidFill>
            <a:schemeClr val="bg1">
              <a:alpha val="2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6EAD1F1-5F70-41BC-887C-808EF2910F44}"/>
              </a:ext>
            </a:extLst>
          </p:cNvPr>
          <p:cNvSpPr/>
          <p:nvPr/>
        </p:nvSpPr>
        <p:spPr>
          <a:xfrm>
            <a:off x="802599" y="2478007"/>
            <a:ext cx="8127575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Future of Wholesale Vehicle Remarketing: The Omni-Channel Experience</a:t>
            </a:r>
          </a:p>
          <a:p>
            <a:endParaRPr lang="en-US" sz="4000" dirty="0">
              <a:solidFill>
                <a:srgbClr val="FFFFFF"/>
              </a:solidFill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1518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67872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4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-1" y="0"/>
            <a:ext cx="12188826" cy="6870699"/>
            <a:chOff x="-1" y="0"/>
            <a:chExt cx="12188826" cy="6870699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E9CF717-05FD-4231-998D-41FED4075302}"/>
                </a:ext>
              </a:extLst>
            </p:cNvPr>
            <p:cNvPicPr>
              <a:picLocks/>
            </p:cNvPicPr>
            <p:nvPr/>
          </p:nvPicPr>
          <p:blipFill rotWithShape="1">
            <a:blip r:embed="rId7">
              <a:grayscl/>
              <a:extLst/>
            </a:blip>
            <a:srcRect l="2661" r="2661"/>
            <a:stretch/>
          </p:blipFill>
          <p:spPr>
            <a:xfrm>
              <a:off x="-1" y="0"/>
              <a:ext cx="12188825" cy="685621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E5F4CE7C-58D1-4DC3-B02C-E76BE83BC172}"/>
                </a:ext>
              </a:extLst>
            </p:cNvPr>
            <p:cNvSpPr/>
            <p:nvPr/>
          </p:nvSpPr>
          <p:spPr>
            <a:xfrm>
              <a:off x="0" y="0"/>
              <a:ext cx="12188825" cy="6870699"/>
            </a:xfrm>
            <a:prstGeom prst="rect">
              <a:avLst/>
            </a:prstGeom>
            <a:solidFill>
              <a:schemeClr val="tx1">
                <a:lumMod val="50000"/>
                <a:alpha val="9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3A270A67-6AF1-4EDB-8CA7-0EB8A9421B40}"/>
              </a:ext>
            </a:extLst>
          </p:cNvPr>
          <p:cNvSpPr txBox="1"/>
          <p:nvPr/>
        </p:nvSpPr>
        <p:spPr>
          <a:xfrm>
            <a:off x="293379" y="557831"/>
            <a:ext cx="9353188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0" name="Freeform: Shape 69">
            <a:extLst>
              <a:ext uri="{FF2B5EF4-FFF2-40B4-BE49-F238E27FC236}">
                <a16:creationId xmlns:a16="http://schemas.microsoft.com/office/drawing/2014/main" id="{118020CF-8FDD-4ED3-8C8E-CE70790742B6}"/>
              </a:ext>
            </a:extLst>
          </p:cNvPr>
          <p:cNvSpPr>
            <a:spLocks/>
          </p:cNvSpPr>
          <p:nvPr/>
        </p:nvSpPr>
        <p:spPr>
          <a:xfrm>
            <a:off x="-152400" y="301820"/>
            <a:ext cx="10515599" cy="1004467"/>
          </a:xfrm>
          <a:custGeom>
            <a:avLst/>
            <a:gdLst>
              <a:gd name="connsiteX0" fmla="*/ 0 w 10363199"/>
              <a:gd name="connsiteY0" fmla="*/ 0 h 1004467"/>
              <a:gd name="connsiteX1" fmla="*/ 10363199 w 10363199"/>
              <a:gd name="connsiteY1" fmla="*/ 0 h 1004467"/>
              <a:gd name="connsiteX2" fmla="*/ 9932263 w 10363199"/>
              <a:gd name="connsiteY2" fmla="*/ 1004467 h 1004467"/>
              <a:gd name="connsiteX3" fmla="*/ 0 w 10363199"/>
              <a:gd name="connsiteY3" fmla="*/ 1004467 h 1004467"/>
              <a:gd name="connsiteX4" fmla="*/ 0 w 10363199"/>
              <a:gd name="connsiteY4" fmla="*/ 0 h 1004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63199" h="1004467">
                <a:moveTo>
                  <a:pt x="0" y="0"/>
                </a:moveTo>
                <a:lnTo>
                  <a:pt x="10363199" y="0"/>
                </a:lnTo>
                <a:lnTo>
                  <a:pt x="9932263" y="1004467"/>
                </a:lnTo>
                <a:lnTo>
                  <a:pt x="0" y="1004467"/>
                </a:lnTo>
                <a:lnTo>
                  <a:pt x="0" y="0"/>
                </a:lnTo>
                <a:close/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09265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8E6037A1-1621-4BD6-AA58-084C33B8A397}"/>
              </a:ext>
            </a:extLst>
          </p:cNvPr>
          <p:cNvSpPr txBox="1"/>
          <p:nvPr/>
        </p:nvSpPr>
        <p:spPr>
          <a:xfrm>
            <a:off x="428805" y="311610"/>
            <a:ext cx="9353188" cy="98488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iver an end-user experience from single to multiple touchpoints in sync with needs and preferenc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9FA076-F5D2-40B9-B677-8EA964F117D9}"/>
              </a:ext>
            </a:extLst>
          </p:cNvPr>
          <p:cNvSpPr txBox="1"/>
          <p:nvPr/>
        </p:nvSpPr>
        <p:spPr>
          <a:xfrm>
            <a:off x="428805" y="1493022"/>
            <a:ext cx="4131711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32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sz="2000" dirty="0"/>
              <a:t>FROM SINGLE TO OMNI-CHANNEL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5886FF79-A803-478B-8A1D-F15AEB94FF51}"/>
              </a:ext>
            </a:extLst>
          </p:cNvPr>
          <p:cNvSpPr/>
          <p:nvPr/>
        </p:nvSpPr>
        <p:spPr>
          <a:xfrm>
            <a:off x="500306" y="2200243"/>
            <a:ext cx="2891564" cy="875156"/>
          </a:xfrm>
          <a:prstGeom prst="homePlate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13" name="Arrow: Chevron 12">
            <a:extLst>
              <a:ext uri="{FF2B5EF4-FFF2-40B4-BE49-F238E27FC236}">
                <a16:creationId xmlns:a16="http://schemas.microsoft.com/office/drawing/2014/main" id="{D7DEF53D-4259-4C5B-8599-3CAD01590B7B}"/>
              </a:ext>
            </a:extLst>
          </p:cNvPr>
          <p:cNvSpPr/>
          <p:nvPr/>
        </p:nvSpPr>
        <p:spPr>
          <a:xfrm>
            <a:off x="3056916" y="2200243"/>
            <a:ext cx="2891564" cy="875156"/>
          </a:xfrm>
          <a:prstGeom prst="chevron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14" name="Arrow: Chevron 13">
            <a:extLst>
              <a:ext uri="{FF2B5EF4-FFF2-40B4-BE49-F238E27FC236}">
                <a16:creationId xmlns:a16="http://schemas.microsoft.com/office/drawing/2014/main" id="{7955E22F-86B5-4AA9-A28F-F55AF7D7D4C2}"/>
              </a:ext>
            </a:extLst>
          </p:cNvPr>
          <p:cNvSpPr/>
          <p:nvPr/>
        </p:nvSpPr>
        <p:spPr>
          <a:xfrm>
            <a:off x="5613526" y="2200243"/>
            <a:ext cx="2891564" cy="875156"/>
          </a:xfrm>
          <a:prstGeom prst="chevron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4A8A6FF4-E998-45B5-89A6-13A633EF67B2}"/>
              </a:ext>
            </a:extLst>
          </p:cNvPr>
          <p:cNvSpPr/>
          <p:nvPr/>
        </p:nvSpPr>
        <p:spPr>
          <a:xfrm>
            <a:off x="8170136" y="2200243"/>
            <a:ext cx="2891564" cy="875156"/>
          </a:xfrm>
          <a:prstGeom prst="chevron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2FFB8B-3920-4D38-814C-3BE842833D9F}"/>
              </a:ext>
            </a:extLst>
          </p:cNvPr>
          <p:cNvSpPr txBox="1"/>
          <p:nvPr/>
        </p:nvSpPr>
        <p:spPr>
          <a:xfrm>
            <a:off x="1043146" y="2306683"/>
            <a:ext cx="180588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ingle-channel commer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F3A26FB-F7AB-4AC3-AE7A-E03EE540AC57}"/>
              </a:ext>
            </a:extLst>
          </p:cNvPr>
          <p:cNvSpPr txBox="1"/>
          <p:nvPr/>
        </p:nvSpPr>
        <p:spPr>
          <a:xfrm>
            <a:off x="3599757" y="2306683"/>
            <a:ext cx="180588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ulti-channel commer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B755AFF-BEB7-4ECC-80B5-CB2BD72C0A79}"/>
              </a:ext>
            </a:extLst>
          </p:cNvPr>
          <p:cNvSpPr txBox="1"/>
          <p:nvPr/>
        </p:nvSpPr>
        <p:spPr>
          <a:xfrm>
            <a:off x="6156366" y="2306683"/>
            <a:ext cx="180588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ross-channel commer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CEB338E-C670-4863-B89A-C65FC9A22B58}"/>
              </a:ext>
            </a:extLst>
          </p:cNvPr>
          <p:cNvSpPr txBox="1"/>
          <p:nvPr/>
        </p:nvSpPr>
        <p:spPr>
          <a:xfrm>
            <a:off x="8712976" y="2330045"/>
            <a:ext cx="1805886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mni-channel commerce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C7B9CA2-C7B0-432F-8B03-77FF2AF901BA}"/>
              </a:ext>
            </a:extLst>
          </p:cNvPr>
          <p:cNvGrpSpPr/>
          <p:nvPr/>
        </p:nvGrpSpPr>
        <p:grpSpPr>
          <a:xfrm>
            <a:off x="1739689" y="3371031"/>
            <a:ext cx="412799" cy="979725"/>
            <a:chOff x="4997571" y="2935044"/>
            <a:chExt cx="2432050" cy="5772151"/>
          </a:xfrm>
          <a:solidFill>
            <a:schemeClr val="bg1"/>
          </a:solidFill>
        </p:grpSpPr>
        <p:sp>
          <p:nvSpPr>
            <p:cNvPr id="21" name="Oval 7">
              <a:extLst>
                <a:ext uri="{FF2B5EF4-FFF2-40B4-BE49-F238E27FC236}">
                  <a16:creationId xmlns:a16="http://schemas.microsoft.com/office/drawing/2014/main" id="{79313D72-FEBD-45AD-A672-27F022F933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1471" y="2935044"/>
              <a:ext cx="958850" cy="9556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C661ECD-C574-48A0-860B-B2CA9F27F2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7571" y="4095507"/>
              <a:ext cx="2432050" cy="4611688"/>
            </a:xfrm>
            <a:custGeom>
              <a:avLst/>
              <a:gdLst>
                <a:gd name="T0" fmla="*/ 415 w 736"/>
                <a:gd name="T1" fmla="*/ 6 h 1400"/>
                <a:gd name="T2" fmla="*/ 277 w 736"/>
                <a:gd name="T3" fmla="*/ 14 h 1400"/>
                <a:gd name="T4" fmla="*/ 115 w 736"/>
                <a:gd name="T5" fmla="*/ 108 h 1400"/>
                <a:gd name="T6" fmla="*/ 98 w 736"/>
                <a:gd name="T7" fmla="*/ 129 h 1400"/>
                <a:gd name="T8" fmla="*/ 9 w 736"/>
                <a:gd name="T9" fmla="*/ 361 h 1400"/>
                <a:gd name="T10" fmla="*/ 6 w 736"/>
                <a:gd name="T11" fmla="*/ 530 h 1400"/>
                <a:gd name="T12" fmla="*/ 151 w 736"/>
                <a:gd name="T13" fmla="*/ 530 h 1400"/>
                <a:gd name="T14" fmla="*/ 187 w 736"/>
                <a:gd name="T15" fmla="*/ 252 h 1400"/>
                <a:gd name="T16" fmla="*/ 187 w 736"/>
                <a:gd name="T17" fmla="*/ 556 h 1400"/>
                <a:gd name="T18" fmla="*/ 188 w 736"/>
                <a:gd name="T19" fmla="*/ 566 h 1400"/>
                <a:gd name="T20" fmla="*/ 187 w 736"/>
                <a:gd name="T21" fmla="*/ 571 h 1400"/>
                <a:gd name="T22" fmla="*/ 177 w 736"/>
                <a:gd name="T23" fmla="*/ 1293 h 1400"/>
                <a:gd name="T24" fmla="*/ 343 w 736"/>
                <a:gd name="T25" fmla="*/ 1293 h 1400"/>
                <a:gd name="T26" fmla="*/ 353 w 736"/>
                <a:gd name="T27" fmla="*/ 727 h 1400"/>
                <a:gd name="T28" fmla="*/ 377 w 736"/>
                <a:gd name="T29" fmla="*/ 727 h 1400"/>
                <a:gd name="T30" fmla="*/ 387 w 736"/>
                <a:gd name="T31" fmla="*/ 1293 h 1400"/>
                <a:gd name="T32" fmla="*/ 553 w 736"/>
                <a:gd name="T33" fmla="*/ 1293 h 1400"/>
                <a:gd name="T34" fmla="*/ 543 w 736"/>
                <a:gd name="T35" fmla="*/ 571 h 1400"/>
                <a:gd name="T36" fmla="*/ 540 w 736"/>
                <a:gd name="T37" fmla="*/ 550 h 1400"/>
                <a:gd name="T38" fmla="*/ 537 w 736"/>
                <a:gd name="T39" fmla="*/ 236 h 1400"/>
                <a:gd name="T40" fmla="*/ 582 w 736"/>
                <a:gd name="T41" fmla="*/ 530 h 1400"/>
                <a:gd name="T42" fmla="*/ 728 w 736"/>
                <a:gd name="T43" fmla="*/ 530 h 1400"/>
                <a:gd name="T44" fmla="*/ 709 w 736"/>
                <a:gd name="T45" fmla="*/ 286 h 1400"/>
                <a:gd name="T46" fmla="*/ 592 w 736"/>
                <a:gd name="T47" fmla="*/ 81 h 1400"/>
                <a:gd name="T48" fmla="*/ 415 w 736"/>
                <a:gd name="T49" fmla="*/ 6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6" h="1400">
                  <a:moveTo>
                    <a:pt x="415" y="6"/>
                  </a:moveTo>
                  <a:cubicBezTo>
                    <a:pt x="368" y="0"/>
                    <a:pt x="321" y="4"/>
                    <a:pt x="277" y="14"/>
                  </a:cubicBezTo>
                  <a:cubicBezTo>
                    <a:pt x="215" y="29"/>
                    <a:pt x="158" y="60"/>
                    <a:pt x="115" y="108"/>
                  </a:cubicBezTo>
                  <a:cubicBezTo>
                    <a:pt x="109" y="115"/>
                    <a:pt x="104" y="122"/>
                    <a:pt x="98" y="129"/>
                  </a:cubicBezTo>
                  <a:cubicBezTo>
                    <a:pt x="48" y="196"/>
                    <a:pt x="21" y="279"/>
                    <a:pt x="9" y="361"/>
                  </a:cubicBezTo>
                  <a:cubicBezTo>
                    <a:pt x="1" y="417"/>
                    <a:pt x="0" y="474"/>
                    <a:pt x="6" y="530"/>
                  </a:cubicBezTo>
                  <a:cubicBezTo>
                    <a:pt x="15" y="622"/>
                    <a:pt x="161" y="623"/>
                    <a:pt x="151" y="530"/>
                  </a:cubicBezTo>
                  <a:cubicBezTo>
                    <a:pt x="143" y="452"/>
                    <a:pt x="146" y="335"/>
                    <a:pt x="187" y="252"/>
                  </a:cubicBezTo>
                  <a:cubicBezTo>
                    <a:pt x="187" y="556"/>
                    <a:pt x="187" y="556"/>
                    <a:pt x="187" y="556"/>
                  </a:cubicBezTo>
                  <a:cubicBezTo>
                    <a:pt x="187" y="559"/>
                    <a:pt x="188" y="562"/>
                    <a:pt x="188" y="566"/>
                  </a:cubicBezTo>
                  <a:cubicBezTo>
                    <a:pt x="188" y="567"/>
                    <a:pt x="187" y="569"/>
                    <a:pt x="187" y="571"/>
                  </a:cubicBezTo>
                  <a:cubicBezTo>
                    <a:pt x="187" y="812"/>
                    <a:pt x="187" y="1052"/>
                    <a:pt x="177" y="1293"/>
                  </a:cubicBezTo>
                  <a:cubicBezTo>
                    <a:pt x="173" y="1400"/>
                    <a:pt x="339" y="1400"/>
                    <a:pt x="343" y="1293"/>
                  </a:cubicBezTo>
                  <a:cubicBezTo>
                    <a:pt x="351" y="1104"/>
                    <a:pt x="353" y="916"/>
                    <a:pt x="353" y="727"/>
                  </a:cubicBezTo>
                  <a:cubicBezTo>
                    <a:pt x="361" y="727"/>
                    <a:pt x="369" y="727"/>
                    <a:pt x="377" y="727"/>
                  </a:cubicBezTo>
                  <a:cubicBezTo>
                    <a:pt x="377" y="916"/>
                    <a:pt x="379" y="1105"/>
                    <a:pt x="387" y="1293"/>
                  </a:cubicBezTo>
                  <a:cubicBezTo>
                    <a:pt x="391" y="1400"/>
                    <a:pt x="557" y="1400"/>
                    <a:pt x="553" y="1293"/>
                  </a:cubicBezTo>
                  <a:cubicBezTo>
                    <a:pt x="543" y="1052"/>
                    <a:pt x="543" y="812"/>
                    <a:pt x="543" y="571"/>
                  </a:cubicBezTo>
                  <a:cubicBezTo>
                    <a:pt x="543" y="563"/>
                    <a:pt x="542" y="556"/>
                    <a:pt x="540" y="550"/>
                  </a:cubicBezTo>
                  <a:cubicBezTo>
                    <a:pt x="540" y="445"/>
                    <a:pt x="536" y="340"/>
                    <a:pt x="537" y="236"/>
                  </a:cubicBezTo>
                  <a:cubicBezTo>
                    <a:pt x="587" y="320"/>
                    <a:pt x="591" y="447"/>
                    <a:pt x="582" y="530"/>
                  </a:cubicBezTo>
                  <a:cubicBezTo>
                    <a:pt x="573" y="623"/>
                    <a:pt x="718" y="622"/>
                    <a:pt x="728" y="530"/>
                  </a:cubicBezTo>
                  <a:cubicBezTo>
                    <a:pt x="736" y="449"/>
                    <a:pt x="730" y="365"/>
                    <a:pt x="709" y="286"/>
                  </a:cubicBezTo>
                  <a:cubicBezTo>
                    <a:pt x="688" y="210"/>
                    <a:pt x="651" y="135"/>
                    <a:pt x="592" y="81"/>
                  </a:cubicBezTo>
                  <a:cubicBezTo>
                    <a:pt x="543" y="37"/>
                    <a:pt x="480" y="13"/>
                    <a:pt x="41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</p:grpSp>
      <p:sp>
        <p:nvSpPr>
          <p:cNvPr id="23" name="Arrow: Down 22">
            <a:extLst>
              <a:ext uri="{FF2B5EF4-FFF2-40B4-BE49-F238E27FC236}">
                <a16:creationId xmlns:a16="http://schemas.microsoft.com/office/drawing/2014/main" id="{B47B79F6-74EB-4E19-9C15-EA56155282B5}"/>
              </a:ext>
            </a:extLst>
          </p:cNvPr>
          <p:cNvSpPr/>
          <p:nvPr/>
        </p:nvSpPr>
        <p:spPr>
          <a:xfrm>
            <a:off x="1864716" y="4395566"/>
            <a:ext cx="162748" cy="402986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A55758F-89F7-481B-8A78-502571635F5B}"/>
              </a:ext>
            </a:extLst>
          </p:cNvPr>
          <p:cNvGrpSpPr/>
          <p:nvPr/>
        </p:nvGrpSpPr>
        <p:grpSpPr>
          <a:xfrm>
            <a:off x="1735162" y="4843358"/>
            <a:ext cx="421847" cy="631641"/>
            <a:chOff x="1735162" y="4843358"/>
            <a:chExt cx="421847" cy="631641"/>
          </a:xfrm>
        </p:grpSpPr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0EC73442-4A4E-4496-9181-72EFF8454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979" y="5012548"/>
              <a:ext cx="117305" cy="27070"/>
            </a:xfrm>
            <a:custGeom>
              <a:avLst/>
              <a:gdLst>
                <a:gd name="T0" fmla="*/ 0 w 297"/>
                <a:gd name="T1" fmla="*/ 46 h 66"/>
                <a:gd name="T2" fmla="*/ 114 w 297"/>
                <a:gd name="T3" fmla="*/ 66 h 66"/>
                <a:gd name="T4" fmla="*/ 296 w 297"/>
                <a:gd name="T5" fmla="*/ 41 h 66"/>
                <a:gd name="T6" fmla="*/ 296 w 297"/>
                <a:gd name="T7" fmla="*/ 34 h 66"/>
                <a:gd name="T8" fmla="*/ 297 w 297"/>
                <a:gd name="T9" fmla="*/ 0 h 66"/>
                <a:gd name="T10" fmla="*/ 0 w 297"/>
                <a:gd name="T11" fmla="*/ 4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7" h="66">
                  <a:moveTo>
                    <a:pt x="0" y="46"/>
                  </a:moveTo>
                  <a:cubicBezTo>
                    <a:pt x="114" y="66"/>
                    <a:pt x="114" y="66"/>
                    <a:pt x="114" y="66"/>
                  </a:cubicBezTo>
                  <a:cubicBezTo>
                    <a:pt x="296" y="41"/>
                    <a:pt x="296" y="41"/>
                    <a:pt x="296" y="41"/>
                  </a:cubicBezTo>
                  <a:cubicBezTo>
                    <a:pt x="296" y="38"/>
                    <a:pt x="296" y="36"/>
                    <a:pt x="296" y="34"/>
                  </a:cubicBezTo>
                  <a:cubicBezTo>
                    <a:pt x="296" y="22"/>
                    <a:pt x="297" y="11"/>
                    <a:pt x="297" y="0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26" name="Oval 13">
              <a:extLst>
                <a:ext uri="{FF2B5EF4-FFF2-40B4-BE49-F238E27FC236}">
                  <a16:creationId xmlns:a16="http://schemas.microsoft.com/office/drawing/2014/main" id="{34CC4EA5-BEE3-4394-8BBD-E2B2BAEECE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9539" y="5041874"/>
              <a:ext cx="49629" cy="51885"/>
            </a:xfrm>
            <a:prstGeom prst="ellipse">
              <a:avLst/>
            </a:pr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AC121EA9-33C9-44F1-9C78-17F758A46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145" y="4989989"/>
              <a:ext cx="117305" cy="33839"/>
            </a:xfrm>
            <a:custGeom>
              <a:avLst/>
              <a:gdLst>
                <a:gd name="T0" fmla="*/ 3 w 291"/>
                <a:gd name="T1" fmla="*/ 44 h 86"/>
                <a:gd name="T2" fmla="*/ 0 w 291"/>
                <a:gd name="T3" fmla="*/ 86 h 86"/>
                <a:gd name="T4" fmla="*/ 291 w 291"/>
                <a:gd name="T5" fmla="*/ 41 h 86"/>
                <a:gd name="T6" fmla="*/ 285 w 291"/>
                <a:gd name="T7" fmla="*/ 0 h 86"/>
                <a:gd name="T8" fmla="*/ 3 w 291"/>
                <a:gd name="T9" fmla="*/ 4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1" h="86">
                  <a:moveTo>
                    <a:pt x="3" y="44"/>
                  </a:moveTo>
                  <a:cubicBezTo>
                    <a:pt x="1" y="58"/>
                    <a:pt x="1" y="72"/>
                    <a:pt x="0" y="86"/>
                  </a:cubicBezTo>
                  <a:cubicBezTo>
                    <a:pt x="291" y="41"/>
                    <a:pt x="291" y="41"/>
                    <a:pt x="291" y="41"/>
                  </a:cubicBezTo>
                  <a:cubicBezTo>
                    <a:pt x="289" y="26"/>
                    <a:pt x="287" y="14"/>
                    <a:pt x="285" y="0"/>
                  </a:cubicBezTo>
                  <a:lnTo>
                    <a:pt x="3" y="44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AEBBB2C2-7331-4D37-A2B6-98D526883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5800" y="4978710"/>
              <a:ext cx="42863" cy="20304"/>
            </a:xfrm>
            <a:custGeom>
              <a:avLst/>
              <a:gdLst>
                <a:gd name="T0" fmla="*/ 0 w 110"/>
                <a:gd name="T1" fmla="*/ 5 h 50"/>
                <a:gd name="T2" fmla="*/ 8 w 110"/>
                <a:gd name="T3" fmla="*/ 50 h 50"/>
                <a:gd name="T4" fmla="*/ 110 w 110"/>
                <a:gd name="T5" fmla="*/ 35 h 50"/>
                <a:gd name="T6" fmla="*/ 27 w 110"/>
                <a:gd name="T7" fmla="*/ 0 h 50"/>
                <a:gd name="T8" fmla="*/ 0 w 110"/>
                <a:gd name="T9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50">
                  <a:moveTo>
                    <a:pt x="0" y="5"/>
                  </a:moveTo>
                  <a:cubicBezTo>
                    <a:pt x="2" y="20"/>
                    <a:pt x="6" y="34"/>
                    <a:pt x="8" y="50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30" name="Oval 16">
              <a:extLst>
                <a:ext uri="{FF2B5EF4-FFF2-40B4-BE49-F238E27FC236}">
                  <a16:creationId xmlns:a16="http://schemas.microsoft.com/office/drawing/2014/main" id="{E85D22BD-BCC7-4FD4-89DA-4BD99F686B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218" y="5014804"/>
              <a:ext cx="49629" cy="51885"/>
            </a:xfrm>
            <a:prstGeom prst="ellipse">
              <a:avLst/>
            </a:pr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1C10BB4A-5C20-4A87-B5D2-DEC90384E7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5162" y="4843358"/>
              <a:ext cx="421847" cy="631641"/>
            </a:xfrm>
            <a:custGeom>
              <a:avLst/>
              <a:gdLst>
                <a:gd name="T0" fmla="*/ 1015 w 1059"/>
                <a:gd name="T1" fmla="*/ 372 h 1585"/>
                <a:gd name="T2" fmla="*/ 1015 w 1059"/>
                <a:gd name="T3" fmla="*/ 372 h 1585"/>
                <a:gd name="T4" fmla="*/ 885 w 1059"/>
                <a:gd name="T5" fmla="*/ 317 h 1585"/>
                <a:gd name="T6" fmla="*/ 852 w 1059"/>
                <a:gd name="T7" fmla="*/ 322 h 1585"/>
                <a:gd name="T8" fmla="*/ 613 w 1059"/>
                <a:gd name="T9" fmla="*/ 56 h 1585"/>
                <a:gd name="T10" fmla="*/ 574 w 1059"/>
                <a:gd name="T11" fmla="*/ 61 h 1585"/>
                <a:gd name="T12" fmla="*/ 424 w 1059"/>
                <a:gd name="T13" fmla="*/ 0 h 1585"/>
                <a:gd name="T14" fmla="*/ 169 w 1059"/>
                <a:gd name="T15" fmla="*/ 429 h 1585"/>
                <a:gd name="T16" fmla="*/ 14 w 1059"/>
                <a:gd name="T17" fmla="*/ 454 h 1585"/>
                <a:gd name="T18" fmla="*/ 0 w 1059"/>
                <a:gd name="T19" fmla="*/ 1495 h 1585"/>
                <a:gd name="T20" fmla="*/ 210 w 1059"/>
                <a:gd name="T21" fmla="*/ 1585 h 1585"/>
                <a:gd name="T22" fmla="*/ 1059 w 1059"/>
                <a:gd name="T23" fmla="*/ 1453 h 1585"/>
                <a:gd name="T24" fmla="*/ 1016 w 1059"/>
                <a:gd name="T25" fmla="*/ 372 h 1585"/>
                <a:gd name="T26" fmla="*/ 1015 w 1059"/>
                <a:gd name="T27" fmla="*/ 372 h 1585"/>
                <a:gd name="T28" fmla="*/ 745 w 1059"/>
                <a:gd name="T29" fmla="*/ 339 h 1585"/>
                <a:gd name="T30" fmla="*/ 681 w 1059"/>
                <a:gd name="T31" fmla="*/ 349 h 1585"/>
                <a:gd name="T32" fmla="*/ 647 w 1059"/>
                <a:gd name="T33" fmla="*/ 174 h 1585"/>
                <a:gd name="T34" fmla="*/ 745 w 1059"/>
                <a:gd name="T35" fmla="*/ 339 h 1585"/>
                <a:gd name="T36" fmla="*/ 573 w 1059"/>
                <a:gd name="T37" fmla="*/ 366 h 1585"/>
                <a:gd name="T38" fmla="*/ 472 w 1059"/>
                <a:gd name="T39" fmla="*/ 382 h 1585"/>
                <a:gd name="T40" fmla="*/ 543 w 1059"/>
                <a:gd name="T41" fmla="*/ 204 h 1585"/>
                <a:gd name="T42" fmla="*/ 573 w 1059"/>
                <a:gd name="T43" fmla="*/ 366 h 1585"/>
                <a:gd name="T44" fmla="*/ 358 w 1059"/>
                <a:gd name="T45" fmla="*/ 467 h 1585"/>
                <a:gd name="T46" fmla="*/ 176 w 1059"/>
                <a:gd name="T47" fmla="*/ 492 h 1585"/>
                <a:gd name="T48" fmla="*/ 62 w 1059"/>
                <a:gd name="T49" fmla="*/ 472 h 1585"/>
                <a:gd name="T50" fmla="*/ 359 w 1059"/>
                <a:gd name="T51" fmla="*/ 426 h 1585"/>
                <a:gd name="T52" fmla="*/ 358 w 1059"/>
                <a:gd name="T53" fmla="*/ 460 h 1585"/>
                <a:gd name="T54" fmla="*/ 358 w 1059"/>
                <a:gd name="T55" fmla="*/ 467 h 1585"/>
                <a:gd name="T56" fmla="*/ 278 w 1059"/>
                <a:gd name="T57" fmla="*/ 412 h 1585"/>
                <a:gd name="T58" fmla="*/ 424 w 1059"/>
                <a:gd name="T59" fmla="*/ 108 h 1585"/>
                <a:gd name="T60" fmla="*/ 473 w 1059"/>
                <a:gd name="T61" fmla="*/ 120 h 1585"/>
                <a:gd name="T62" fmla="*/ 361 w 1059"/>
                <a:gd name="T63" fmla="*/ 399 h 1585"/>
                <a:gd name="T64" fmla="*/ 278 w 1059"/>
                <a:gd name="T65" fmla="*/ 412 h 1585"/>
                <a:gd name="T66" fmla="*/ 426 w 1059"/>
                <a:gd name="T67" fmla="*/ 625 h 1585"/>
                <a:gd name="T68" fmla="*/ 362 w 1059"/>
                <a:gd name="T69" fmla="*/ 560 h 1585"/>
                <a:gd name="T70" fmla="*/ 426 w 1059"/>
                <a:gd name="T71" fmla="*/ 496 h 1585"/>
                <a:gd name="T72" fmla="*/ 490 w 1059"/>
                <a:gd name="T73" fmla="*/ 560 h 1585"/>
                <a:gd name="T74" fmla="*/ 426 w 1059"/>
                <a:gd name="T75" fmla="*/ 625 h 1585"/>
                <a:gd name="T76" fmla="*/ 466 w 1059"/>
                <a:gd name="T77" fmla="*/ 451 h 1585"/>
                <a:gd name="T78" fmla="*/ 469 w 1059"/>
                <a:gd name="T79" fmla="*/ 409 h 1585"/>
                <a:gd name="T80" fmla="*/ 751 w 1059"/>
                <a:gd name="T81" fmla="*/ 365 h 1585"/>
                <a:gd name="T82" fmla="*/ 757 w 1059"/>
                <a:gd name="T83" fmla="*/ 406 h 1585"/>
                <a:gd name="T84" fmla="*/ 466 w 1059"/>
                <a:gd name="T85" fmla="*/ 451 h 1585"/>
                <a:gd name="T86" fmla="*/ 839 w 1059"/>
                <a:gd name="T87" fmla="*/ 560 h 1585"/>
                <a:gd name="T88" fmla="*/ 775 w 1059"/>
                <a:gd name="T89" fmla="*/ 496 h 1585"/>
                <a:gd name="T90" fmla="*/ 839 w 1059"/>
                <a:gd name="T91" fmla="*/ 432 h 1585"/>
                <a:gd name="T92" fmla="*/ 903 w 1059"/>
                <a:gd name="T93" fmla="*/ 496 h 1585"/>
                <a:gd name="T94" fmla="*/ 839 w 1059"/>
                <a:gd name="T95" fmla="*/ 560 h 1585"/>
                <a:gd name="T96" fmla="*/ 864 w 1059"/>
                <a:gd name="T97" fmla="*/ 391 h 1585"/>
                <a:gd name="T98" fmla="*/ 856 w 1059"/>
                <a:gd name="T99" fmla="*/ 346 h 1585"/>
                <a:gd name="T100" fmla="*/ 883 w 1059"/>
                <a:gd name="T101" fmla="*/ 341 h 1585"/>
                <a:gd name="T102" fmla="*/ 966 w 1059"/>
                <a:gd name="T103" fmla="*/ 376 h 1585"/>
                <a:gd name="T104" fmla="*/ 864 w 1059"/>
                <a:gd name="T105" fmla="*/ 391 h 1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59" h="1585">
                  <a:moveTo>
                    <a:pt x="1015" y="372"/>
                  </a:moveTo>
                  <a:cubicBezTo>
                    <a:pt x="1015" y="372"/>
                    <a:pt x="1015" y="372"/>
                    <a:pt x="1015" y="372"/>
                  </a:cubicBezTo>
                  <a:cubicBezTo>
                    <a:pt x="885" y="317"/>
                    <a:pt x="885" y="317"/>
                    <a:pt x="885" y="317"/>
                  </a:cubicBezTo>
                  <a:cubicBezTo>
                    <a:pt x="852" y="322"/>
                    <a:pt x="852" y="322"/>
                    <a:pt x="852" y="322"/>
                  </a:cubicBezTo>
                  <a:cubicBezTo>
                    <a:pt x="817" y="165"/>
                    <a:pt x="725" y="56"/>
                    <a:pt x="613" y="56"/>
                  </a:cubicBezTo>
                  <a:cubicBezTo>
                    <a:pt x="599" y="56"/>
                    <a:pt x="587" y="58"/>
                    <a:pt x="574" y="61"/>
                  </a:cubicBezTo>
                  <a:cubicBezTo>
                    <a:pt x="533" y="22"/>
                    <a:pt x="483" y="0"/>
                    <a:pt x="424" y="0"/>
                  </a:cubicBezTo>
                  <a:cubicBezTo>
                    <a:pt x="253" y="0"/>
                    <a:pt x="171" y="227"/>
                    <a:pt x="169" y="429"/>
                  </a:cubicBezTo>
                  <a:cubicBezTo>
                    <a:pt x="14" y="454"/>
                    <a:pt x="14" y="454"/>
                    <a:pt x="14" y="454"/>
                  </a:cubicBezTo>
                  <a:cubicBezTo>
                    <a:pt x="0" y="1495"/>
                    <a:pt x="0" y="1495"/>
                    <a:pt x="0" y="1495"/>
                  </a:cubicBezTo>
                  <a:cubicBezTo>
                    <a:pt x="210" y="1585"/>
                    <a:pt x="210" y="1585"/>
                    <a:pt x="210" y="1585"/>
                  </a:cubicBezTo>
                  <a:cubicBezTo>
                    <a:pt x="1059" y="1453"/>
                    <a:pt x="1059" y="1453"/>
                    <a:pt x="1059" y="1453"/>
                  </a:cubicBezTo>
                  <a:cubicBezTo>
                    <a:pt x="1016" y="372"/>
                    <a:pt x="1016" y="372"/>
                    <a:pt x="1016" y="372"/>
                  </a:cubicBezTo>
                  <a:lnTo>
                    <a:pt x="1015" y="372"/>
                  </a:lnTo>
                  <a:close/>
                  <a:moveTo>
                    <a:pt x="745" y="339"/>
                  </a:moveTo>
                  <a:cubicBezTo>
                    <a:pt x="681" y="349"/>
                    <a:pt x="681" y="349"/>
                    <a:pt x="681" y="349"/>
                  </a:cubicBezTo>
                  <a:cubicBezTo>
                    <a:pt x="678" y="284"/>
                    <a:pt x="666" y="224"/>
                    <a:pt x="647" y="174"/>
                  </a:cubicBezTo>
                  <a:cubicBezTo>
                    <a:pt x="687" y="196"/>
                    <a:pt x="725" y="255"/>
                    <a:pt x="745" y="339"/>
                  </a:cubicBezTo>
                  <a:close/>
                  <a:moveTo>
                    <a:pt x="573" y="366"/>
                  </a:moveTo>
                  <a:cubicBezTo>
                    <a:pt x="472" y="382"/>
                    <a:pt x="472" y="382"/>
                    <a:pt x="472" y="382"/>
                  </a:cubicBezTo>
                  <a:cubicBezTo>
                    <a:pt x="483" y="303"/>
                    <a:pt x="510" y="241"/>
                    <a:pt x="543" y="204"/>
                  </a:cubicBezTo>
                  <a:cubicBezTo>
                    <a:pt x="562" y="247"/>
                    <a:pt x="572" y="303"/>
                    <a:pt x="573" y="366"/>
                  </a:cubicBezTo>
                  <a:close/>
                  <a:moveTo>
                    <a:pt x="358" y="467"/>
                  </a:moveTo>
                  <a:cubicBezTo>
                    <a:pt x="176" y="492"/>
                    <a:pt x="176" y="492"/>
                    <a:pt x="176" y="492"/>
                  </a:cubicBezTo>
                  <a:cubicBezTo>
                    <a:pt x="62" y="472"/>
                    <a:pt x="62" y="472"/>
                    <a:pt x="62" y="472"/>
                  </a:cubicBezTo>
                  <a:cubicBezTo>
                    <a:pt x="359" y="426"/>
                    <a:pt x="359" y="426"/>
                    <a:pt x="359" y="426"/>
                  </a:cubicBezTo>
                  <a:cubicBezTo>
                    <a:pt x="359" y="437"/>
                    <a:pt x="358" y="448"/>
                    <a:pt x="358" y="460"/>
                  </a:cubicBezTo>
                  <a:cubicBezTo>
                    <a:pt x="358" y="462"/>
                    <a:pt x="358" y="464"/>
                    <a:pt x="358" y="467"/>
                  </a:cubicBezTo>
                  <a:close/>
                  <a:moveTo>
                    <a:pt x="278" y="412"/>
                  </a:moveTo>
                  <a:cubicBezTo>
                    <a:pt x="285" y="249"/>
                    <a:pt x="346" y="108"/>
                    <a:pt x="424" y="108"/>
                  </a:cubicBezTo>
                  <a:cubicBezTo>
                    <a:pt x="442" y="108"/>
                    <a:pt x="458" y="113"/>
                    <a:pt x="473" y="120"/>
                  </a:cubicBezTo>
                  <a:cubicBezTo>
                    <a:pt x="413" y="181"/>
                    <a:pt x="372" y="281"/>
                    <a:pt x="361" y="399"/>
                  </a:cubicBezTo>
                  <a:lnTo>
                    <a:pt x="278" y="412"/>
                  </a:lnTo>
                  <a:close/>
                  <a:moveTo>
                    <a:pt x="426" y="625"/>
                  </a:moveTo>
                  <a:cubicBezTo>
                    <a:pt x="391" y="625"/>
                    <a:pt x="362" y="596"/>
                    <a:pt x="362" y="560"/>
                  </a:cubicBezTo>
                  <a:cubicBezTo>
                    <a:pt x="362" y="525"/>
                    <a:pt x="391" y="496"/>
                    <a:pt x="426" y="496"/>
                  </a:cubicBezTo>
                  <a:cubicBezTo>
                    <a:pt x="462" y="496"/>
                    <a:pt x="490" y="525"/>
                    <a:pt x="490" y="560"/>
                  </a:cubicBezTo>
                  <a:cubicBezTo>
                    <a:pt x="490" y="596"/>
                    <a:pt x="462" y="625"/>
                    <a:pt x="426" y="625"/>
                  </a:cubicBezTo>
                  <a:close/>
                  <a:moveTo>
                    <a:pt x="466" y="451"/>
                  </a:moveTo>
                  <a:cubicBezTo>
                    <a:pt x="467" y="437"/>
                    <a:pt x="467" y="423"/>
                    <a:pt x="469" y="409"/>
                  </a:cubicBezTo>
                  <a:cubicBezTo>
                    <a:pt x="751" y="365"/>
                    <a:pt x="751" y="365"/>
                    <a:pt x="751" y="365"/>
                  </a:cubicBezTo>
                  <a:cubicBezTo>
                    <a:pt x="753" y="379"/>
                    <a:pt x="755" y="391"/>
                    <a:pt x="757" y="406"/>
                  </a:cubicBezTo>
                  <a:lnTo>
                    <a:pt x="466" y="451"/>
                  </a:lnTo>
                  <a:close/>
                  <a:moveTo>
                    <a:pt x="839" y="560"/>
                  </a:moveTo>
                  <a:cubicBezTo>
                    <a:pt x="803" y="560"/>
                    <a:pt x="775" y="531"/>
                    <a:pt x="775" y="496"/>
                  </a:cubicBezTo>
                  <a:cubicBezTo>
                    <a:pt x="775" y="460"/>
                    <a:pt x="803" y="432"/>
                    <a:pt x="839" y="432"/>
                  </a:cubicBezTo>
                  <a:cubicBezTo>
                    <a:pt x="874" y="432"/>
                    <a:pt x="903" y="460"/>
                    <a:pt x="903" y="496"/>
                  </a:cubicBezTo>
                  <a:cubicBezTo>
                    <a:pt x="903" y="531"/>
                    <a:pt x="874" y="560"/>
                    <a:pt x="839" y="560"/>
                  </a:cubicBezTo>
                  <a:close/>
                  <a:moveTo>
                    <a:pt x="864" y="391"/>
                  </a:moveTo>
                  <a:cubicBezTo>
                    <a:pt x="862" y="375"/>
                    <a:pt x="858" y="361"/>
                    <a:pt x="856" y="346"/>
                  </a:cubicBezTo>
                  <a:cubicBezTo>
                    <a:pt x="883" y="341"/>
                    <a:pt x="883" y="341"/>
                    <a:pt x="883" y="341"/>
                  </a:cubicBezTo>
                  <a:cubicBezTo>
                    <a:pt x="966" y="376"/>
                    <a:pt x="966" y="376"/>
                    <a:pt x="966" y="376"/>
                  </a:cubicBezTo>
                  <a:lnTo>
                    <a:pt x="864" y="39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dirty="0"/>
            </a:p>
          </p:txBody>
        </p:sp>
      </p:grp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B7C6E2F-03EE-45E2-854D-11C508B33675}"/>
              </a:ext>
            </a:extLst>
          </p:cNvPr>
          <p:cNvSpPr/>
          <p:nvPr/>
        </p:nvSpPr>
        <p:spPr>
          <a:xfrm>
            <a:off x="3004064" y="3370547"/>
            <a:ext cx="0" cy="2841679"/>
          </a:xfrm>
          <a:custGeom>
            <a:avLst/>
            <a:gdLst>
              <a:gd name="connsiteX0" fmla="*/ 0 w 0"/>
              <a:gd name="connsiteY0" fmla="*/ 0 h 1577340"/>
              <a:gd name="connsiteX1" fmla="*/ 0 w 0"/>
              <a:gd name="connsiteY1" fmla="*/ 1577340 h 1577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77340">
                <a:moveTo>
                  <a:pt x="0" y="0"/>
                </a:moveTo>
                <a:lnTo>
                  <a:pt x="0" y="1577340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C0E9128-6AEC-4BA2-AFF2-74D195E1D835}"/>
              </a:ext>
            </a:extLst>
          </p:cNvPr>
          <p:cNvGrpSpPr/>
          <p:nvPr/>
        </p:nvGrpSpPr>
        <p:grpSpPr>
          <a:xfrm>
            <a:off x="3706760" y="3371031"/>
            <a:ext cx="412799" cy="979725"/>
            <a:chOff x="4997571" y="2935044"/>
            <a:chExt cx="2432050" cy="5772151"/>
          </a:xfrm>
          <a:solidFill>
            <a:schemeClr val="bg1"/>
          </a:solidFill>
        </p:grpSpPr>
        <p:sp>
          <p:nvSpPr>
            <p:cNvPr id="53" name="Oval 7">
              <a:extLst>
                <a:ext uri="{FF2B5EF4-FFF2-40B4-BE49-F238E27FC236}">
                  <a16:creationId xmlns:a16="http://schemas.microsoft.com/office/drawing/2014/main" id="{DCE4C114-BB93-4E76-A391-010755BB03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1471" y="2935044"/>
              <a:ext cx="958850" cy="9556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id="{E695FFF8-895E-4D22-A886-5779F6CA9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7571" y="4095507"/>
              <a:ext cx="2432050" cy="4611688"/>
            </a:xfrm>
            <a:custGeom>
              <a:avLst/>
              <a:gdLst>
                <a:gd name="T0" fmla="*/ 415 w 736"/>
                <a:gd name="T1" fmla="*/ 6 h 1400"/>
                <a:gd name="T2" fmla="*/ 277 w 736"/>
                <a:gd name="T3" fmla="*/ 14 h 1400"/>
                <a:gd name="T4" fmla="*/ 115 w 736"/>
                <a:gd name="T5" fmla="*/ 108 h 1400"/>
                <a:gd name="T6" fmla="*/ 98 w 736"/>
                <a:gd name="T7" fmla="*/ 129 h 1400"/>
                <a:gd name="T8" fmla="*/ 9 w 736"/>
                <a:gd name="T9" fmla="*/ 361 h 1400"/>
                <a:gd name="T10" fmla="*/ 6 w 736"/>
                <a:gd name="T11" fmla="*/ 530 h 1400"/>
                <a:gd name="T12" fmla="*/ 151 w 736"/>
                <a:gd name="T13" fmla="*/ 530 h 1400"/>
                <a:gd name="T14" fmla="*/ 187 w 736"/>
                <a:gd name="T15" fmla="*/ 252 h 1400"/>
                <a:gd name="T16" fmla="*/ 187 w 736"/>
                <a:gd name="T17" fmla="*/ 556 h 1400"/>
                <a:gd name="T18" fmla="*/ 188 w 736"/>
                <a:gd name="T19" fmla="*/ 566 h 1400"/>
                <a:gd name="T20" fmla="*/ 187 w 736"/>
                <a:gd name="T21" fmla="*/ 571 h 1400"/>
                <a:gd name="T22" fmla="*/ 177 w 736"/>
                <a:gd name="T23" fmla="*/ 1293 h 1400"/>
                <a:gd name="T24" fmla="*/ 343 w 736"/>
                <a:gd name="T25" fmla="*/ 1293 h 1400"/>
                <a:gd name="T26" fmla="*/ 353 w 736"/>
                <a:gd name="T27" fmla="*/ 727 h 1400"/>
                <a:gd name="T28" fmla="*/ 377 w 736"/>
                <a:gd name="T29" fmla="*/ 727 h 1400"/>
                <a:gd name="T30" fmla="*/ 387 w 736"/>
                <a:gd name="T31" fmla="*/ 1293 h 1400"/>
                <a:gd name="T32" fmla="*/ 553 w 736"/>
                <a:gd name="T33" fmla="*/ 1293 h 1400"/>
                <a:gd name="T34" fmla="*/ 543 w 736"/>
                <a:gd name="T35" fmla="*/ 571 h 1400"/>
                <a:gd name="T36" fmla="*/ 540 w 736"/>
                <a:gd name="T37" fmla="*/ 550 h 1400"/>
                <a:gd name="T38" fmla="*/ 537 w 736"/>
                <a:gd name="T39" fmla="*/ 236 h 1400"/>
                <a:gd name="T40" fmla="*/ 582 w 736"/>
                <a:gd name="T41" fmla="*/ 530 h 1400"/>
                <a:gd name="T42" fmla="*/ 728 w 736"/>
                <a:gd name="T43" fmla="*/ 530 h 1400"/>
                <a:gd name="T44" fmla="*/ 709 w 736"/>
                <a:gd name="T45" fmla="*/ 286 h 1400"/>
                <a:gd name="T46" fmla="*/ 592 w 736"/>
                <a:gd name="T47" fmla="*/ 81 h 1400"/>
                <a:gd name="T48" fmla="*/ 415 w 736"/>
                <a:gd name="T49" fmla="*/ 6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6" h="1400">
                  <a:moveTo>
                    <a:pt x="415" y="6"/>
                  </a:moveTo>
                  <a:cubicBezTo>
                    <a:pt x="368" y="0"/>
                    <a:pt x="321" y="4"/>
                    <a:pt x="277" y="14"/>
                  </a:cubicBezTo>
                  <a:cubicBezTo>
                    <a:pt x="215" y="29"/>
                    <a:pt x="158" y="60"/>
                    <a:pt x="115" y="108"/>
                  </a:cubicBezTo>
                  <a:cubicBezTo>
                    <a:pt x="109" y="115"/>
                    <a:pt x="104" y="122"/>
                    <a:pt x="98" y="129"/>
                  </a:cubicBezTo>
                  <a:cubicBezTo>
                    <a:pt x="48" y="196"/>
                    <a:pt x="21" y="279"/>
                    <a:pt x="9" y="361"/>
                  </a:cubicBezTo>
                  <a:cubicBezTo>
                    <a:pt x="1" y="417"/>
                    <a:pt x="0" y="474"/>
                    <a:pt x="6" y="530"/>
                  </a:cubicBezTo>
                  <a:cubicBezTo>
                    <a:pt x="15" y="622"/>
                    <a:pt x="161" y="623"/>
                    <a:pt x="151" y="530"/>
                  </a:cubicBezTo>
                  <a:cubicBezTo>
                    <a:pt x="143" y="452"/>
                    <a:pt x="146" y="335"/>
                    <a:pt x="187" y="252"/>
                  </a:cubicBezTo>
                  <a:cubicBezTo>
                    <a:pt x="187" y="556"/>
                    <a:pt x="187" y="556"/>
                    <a:pt x="187" y="556"/>
                  </a:cubicBezTo>
                  <a:cubicBezTo>
                    <a:pt x="187" y="559"/>
                    <a:pt x="188" y="562"/>
                    <a:pt x="188" y="566"/>
                  </a:cubicBezTo>
                  <a:cubicBezTo>
                    <a:pt x="188" y="567"/>
                    <a:pt x="187" y="569"/>
                    <a:pt x="187" y="571"/>
                  </a:cubicBezTo>
                  <a:cubicBezTo>
                    <a:pt x="187" y="812"/>
                    <a:pt x="187" y="1052"/>
                    <a:pt x="177" y="1293"/>
                  </a:cubicBezTo>
                  <a:cubicBezTo>
                    <a:pt x="173" y="1400"/>
                    <a:pt x="339" y="1400"/>
                    <a:pt x="343" y="1293"/>
                  </a:cubicBezTo>
                  <a:cubicBezTo>
                    <a:pt x="351" y="1104"/>
                    <a:pt x="353" y="916"/>
                    <a:pt x="353" y="727"/>
                  </a:cubicBezTo>
                  <a:cubicBezTo>
                    <a:pt x="361" y="727"/>
                    <a:pt x="369" y="727"/>
                    <a:pt x="377" y="727"/>
                  </a:cubicBezTo>
                  <a:cubicBezTo>
                    <a:pt x="377" y="916"/>
                    <a:pt x="379" y="1105"/>
                    <a:pt x="387" y="1293"/>
                  </a:cubicBezTo>
                  <a:cubicBezTo>
                    <a:pt x="391" y="1400"/>
                    <a:pt x="557" y="1400"/>
                    <a:pt x="553" y="1293"/>
                  </a:cubicBezTo>
                  <a:cubicBezTo>
                    <a:pt x="543" y="1052"/>
                    <a:pt x="543" y="812"/>
                    <a:pt x="543" y="571"/>
                  </a:cubicBezTo>
                  <a:cubicBezTo>
                    <a:pt x="543" y="563"/>
                    <a:pt x="542" y="556"/>
                    <a:pt x="540" y="550"/>
                  </a:cubicBezTo>
                  <a:cubicBezTo>
                    <a:pt x="540" y="445"/>
                    <a:pt x="536" y="340"/>
                    <a:pt x="537" y="236"/>
                  </a:cubicBezTo>
                  <a:cubicBezTo>
                    <a:pt x="587" y="320"/>
                    <a:pt x="591" y="447"/>
                    <a:pt x="582" y="530"/>
                  </a:cubicBezTo>
                  <a:cubicBezTo>
                    <a:pt x="573" y="623"/>
                    <a:pt x="718" y="622"/>
                    <a:pt x="728" y="530"/>
                  </a:cubicBezTo>
                  <a:cubicBezTo>
                    <a:pt x="736" y="449"/>
                    <a:pt x="730" y="365"/>
                    <a:pt x="709" y="286"/>
                  </a:cubicBezTo>
                  <a:cubicBezTo>
                    <a:pt x="688" y="210"/>
                    <a:pt x="651" y="135"/>
                    <a:pt x="592" y="81"/>
                  </a:cubicBezTo>
                  <a:cubicBezTo>
                    <a:pt x="543" y="37"/>
                    <a:pt x="480" y="13"/>
                    <a:pt x="41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</p:grpSp>
      <p:sp>
        <p:nvSpPr>
          <p:cNvPr id="36" name="Arrow: Down 35">
            <a:extLst>
              <a:ext uri="{FF2B5EF4-FFF2-40B4-BE49-F238E27FC236}">
                <a16:creationId xmlns:a16="http://schemas.microsoft.com/office/drawing/2014/main" id="{D968D804-61B1-4569-9868-73D7599A5B73}"/>
              </a:ext>
            </a:extLst>
          </p:cNvPr>
          <p:cNvSpPr/>
          <p:nvPr/>
        </p:nvSpPr>
        <p:spPr>
          <a:xfrm>
            <a:off x="3831787" y="4395566"/>
            <a:ext cx="162748" cy="402986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D9B6724D-C956-4884-B8F5-26E42A6A9650}"/>
              </a:ext>
            </a:extLst>
          </p:cNvPr>
          <p:cNvGrpSpPr/>
          <p:nvPr/>
        </p:nvGrpSpPr>
        <p:grpSpPr>
          <a:xfrm>
            <a:off x="4239048" y="3371031"/>
            <a:ext cx="412799" cy="979725"/>
            <a:chOff x="4997571" y="2935044"/>
            <a:chExt cx="2432050" cy="5772151"/>
          </a:xfrm>
          <a:solidFill>
            <a:schemeClr val="bg1"/>
          </a:solidFill>
        </p:grpSpPr>
        <p:sp>
          <p:nvSpPr>
            <p:cNvPr id="51" name="Oval 7">
              <a:extLst>
                <a:ext uri="{FF2B5EF4-FFF2-40B4-BE49-F238E27FC236}">
                  <a16:creationId xmlns:a16="http://schemas.microsoft.com/office/drawing/2014/main" id="{BB7F3F3A-CE9B-43A9-9D44-9068EAC261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1471" y="2935044"/>
              <a:ext cx="958850" cy="9556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id="{57E0DC58-525E-44F1-A488-936CBBB05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7571" y="4095507"/>
              <a:ext cx="2432050" cy="4611688"/>
            </a:xfrm>
            <a:custGeom>
              <a:avLst/>
              <a:gdLst>
                <a:gd name="T0" fmla="*/ 415 w 736"/>
                <a:gd name="T1" fmla="*/ 6 h 1400"/>
                <a:gd name="T2" fmla="*/ 277 w 736"/>
                <a:gd name="T3" fmla="*/ 14 h 1400"/>
                <a:gd name="T4" fmla="*/ 115 w 736"/>
                <a:gd name="T5" fmla="*/ 108 h 1400"/>
                <a:gd name="T6" fmla="*/ 98 w 736"/>
                <a:gd name="T7" fmla="*/ 129 h 1400"/>
                <a:gd name="T8" fmla="*/ 9 w 736"/>
                <a:gd name="T9" fmla="*/ 361 h 1400"/>
                <a:gd name="T10" fmla="*/ 6 w 736"/>
                <a:gd name="T11" fmla="*/ 530 h 1400"/>
                <a:gd name="T12" fmla="*/ 151 w 736"/>
                <a:gd name="T13" fmla="*/ 530 h 1400"/>
                <a:gd name="T14" fmla="*/ 187 w 736"/>
                <a:gd name="T15" fmla="*/ 252 h 1400"/>
                <a:gd name="T16" fmla="*/ 187 w 736"/>
                <a:gd name="T17" fmla="*/ 556 h 1400"/>
                <a:gd name="T18" fmla="*/ 188 w 736"/>
                <a:gd name="T19" fmla="*/ 566 h 1400"/>
                <a:gd name="T20" fmla="*/ 187 w 736"/>
                <a:gd name="T21" fmla="*/ 571 h 1400"/>
                <a:gd name="T22" fmla="*/ 177 w 736"/>
                <a:gd name="T23" fmla="*/ 1293 h 1400"/>
                <a:gd name="T24" fmla="*/ 343 w 736"/>
                <a:gd name="T25" fmla="*/ 1293 h 1400"/>
                <a:gd name="T26" fmla="*/ 353 w 736"/>
                <a:gd name="T27" fmla="*/ 727 h 1400"/>
                <a:gd name="T28" fmla="*/ 377 w 736"/>
                <a:gd name="T29" fmla="*/ 727 h 1400"/>
                <a:gd name="T30" fmla="*/ 387 w 736"/>
                <a:gd name="T31" fmla="*/ 1293 h 1400"/>
                <a:gd name="T32" fmla="*/ 553 w 736"/>
                <a:gd name="T33" fmla="*/ 1293 h 1400"/>
                <a:gd name="T34" fmla="*/ 543 w 736"/>
                <a:gd name="T35" fmla="*/ 571 h 1400"/>
                <a:gd name="T36" fmla="*/ 540 w 736"/>
                <a:gd name="T37" fmla="*/ 550 h 1400"/>
                <a:gd name="T38" fmla="*/ 537 w 736"/>
                <a:gd name="T39" fmla="*/ 236 h 1400"/>
                <a:gd name="T40" fmla="*/ 582 w 736"/>
                <a:gd name="T41" fmla="*/ 530 h 1400"/>
                <a:gd name="T42" fmla="*/ 728 w 736"/>
                <a:gd name="T43" fmla="*/ 530 h 1400"/>
                <a:gd name="T44" fmla="*/ 709 w 736"/>
                <a:gd name="T45" fmla="*/ 286 h 1400"/>
                <a:gd name="T46" fmla="*/ 592 w 736"/>
                <a:gd name="T47" fmla="*/ 81 h 1400"/>
                <a:gd name="T48" fmla="*/ 415 w 736"/>
                <a:gd name="T49" fmla="*/ 6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6" h="1400">
                  <a:moveTo>
                    <a:pt x="415" y="6"/>
                  </a:moveTo>
                  <a:cubicBezTo>
                    <a:pt x="368" y="0"/>
                    <a:pt x="321" y="4"/>
                    <a:pt x="277" y="14"/>
                  </a:cubicBezTo>
                  <a:cubicBezTo>
                    <a:pt x="215" y="29"/>
                    <a:pt x="158" y="60"/>
                    <a:pt x="115" y="108"/>
                  </a:cubicBezTo>
                  <a:cubicBezTo>
                    <a:pt x="109" y="115"/>
                    <a:pt x="104" y="122"/>
                    <a:pt x="98" y="129"/>
                  </a:cubicBezTo>
                  <a:cubicBezTo>
                    <a:pt x="48" y="196"/>
                    <a:pt x="21" y="279"/>
                    <a:pt x="9" y="361"/>
                  </a:cubicBezTo>
                  <a:cubicBezTo>
                    <a:pt x="1" y="417"/>
                    <a:pt x="0" y="474"/>
                    <a:pt x="6" y="530"/>
                  </a:cubicBezTo>
                  <a:cubicBezTo>
                    <a:pt x="15" y="622"/>
                    <a:pt x="161" y="623"/>
                    <a:pt x="151" y="530"/>
                  </a:cubicBezTo>
                  <a:cubicBezTo>
                    <a:pt x="143" y="452"/>
                    <a:pt x="146" y="335"/>
                    <a:pt x="187" y="252"/>
                  </a:cubicBezTo>
                  <a:cubicBezTo>
                    <a:pt x="187" y="556"/>
                    <a:pt x="187" y="556"/>
                    <a:pt x="187" y="556"/>
                  </a:cubicBezTo>
                  <a:cubicBezTo>
                    <a:pt x="187" y="559"/>
                    <a:pt x="188" y="562"/>
                    <a:pt x="188" y="566"/>
                  </a:cubicBezTo>
                  <a:cubicBezTo>
                    <a:pt x="188" y="567"/>
                    <a:pt x="187" y="569"/>
                    <a:pt x="187" y="571"/>
                  </a:cubicBezTo>
                  <a:cubicBezTo>
                    <a:pt x="187" y="812"/>
                    <a:pt x="187" y="1052"/>
                    <a:pt x="177" y="1293"/>
                  </a:cubicBezTo>
                  <a:cubicBezTo>
                    <a:pt x="173" y="1400"/>
                    <a:pt x="339" y="1400"/>
                    <a:pt x="343" y="1293"/>
                  </a:cubicBezTo>
                  <a:cubicBezTo>
                    <a:pt x="351" y="1104"/>
                    <a:pt x="353" y="916"/>
                    <a:pt x="353" y="727"/>
                  </a:cubicBezTo>
                  <a:cubicBezTo>
                    <a:pt x="361" y="727"/>
                    <a:pt x="369" y="727"/>
                    <a:pt x="377" y="727"/>
                  </a:cubicBezTo>
                  <a:cubicBezTo>
                    <a:pt x="377" y="916"/>
                    <a:pt x="379" y="1105"/>
                    <a:pt x="387" y="1293"/>
                  </a:cubicBezTo>
                  <a:cubicBezTo>
                    <a:pt x="391" y="1400"/>
                    <a:pt x="557" y="1400"/>
                    <a:pt x="553" y="1293"/>
                  </a:cubicBezTo>
                  <a:cubicBezTo>
                    <a:pt x="543" y="1052"/>
                    <a:pt x="543" y="812"/>
                    <a:pt x="543" y="571"/>
                  </a:cubicBezTo>
                  <a:cubicBezTo>
                    <a:pt x="543" y="563"/>
                    <a:pt x="542" y="556"/>
                    <a:pt x="540" y="550"/>
                  </a:cubicBezTo>
                  <a:cubicBezTo>
                    <a:pt x="540" y="445"/>
                    <a:pt x="536" y="340"/>
                    <a:pt x="537" y="236"/>
                  </a:cubicBezTo>
                  <a:cubicBezTo>
                    <a:pt x="587" y="320"/>
                    <a:pt x="591" y="447"/>
                    <a:pt x="582" y="530"/>
                  </a:cubicBezTo>
                  <a:cubicBezTo>
                    <a:pt x="573" y="623"/>
                    <a:pt x="718" y="622"/>
                    <a:pt x="728" y="530"/>
                  </a:cubicBezTo>
                  <a:cubicBezTo>
                    <a:pt x="736" y="449"/>
                    <a:pt x="730" y="365"/>
                    <a:pt x="709" y="286"/>
                  </a:cubicBezTo>
                  <a:cubicBezTo>
                    <a:pt x="688" y="210"/>
                    <a:pt x="651" y="135"/>
                    <a:pt x="592" y="81"/>
                  </a:cubicBezTo>
                  <a:cubicBezTo>
                    <a:pt x="543" y="37"/>
                    <a:pt x="480" y="13"/>
                    <a:pt x="41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</p:grpSp>
      <p:sp>
        <p:nvSpPr>
          <p:cNvPr id="38" name="Arrow: Down 37">
            <a:extLst>
              <a:ext uri="{FF2B5EF4-FFF2-40B4-BE49-F238E27FC236}">
                <a16:creationId xmlns:a16="http://schemas.microsoft.com/office/drawing/2014/main" id="{1F1FC778-8252-4352-99E6-0F7EFC5242E3}"/>
              </a:ext>
            </a:extLst>
          </p:cNvPr>
          <p:cNvSpPr/>
          <p:nvPr/>
        </p:nvSpPr>
        <p:spPr>
          <a:xfrm>
            <a:off x="4364075" y="4395566"/>
            <a:ext cx="162748" cy="402986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B2E3AC8-742C-44EB-91EC-60C47686C0E0}"/>
              </a:ext>
            </a:extLst>
          </p:cNvPr>
          <p:cNvGrpSpPr/>
          <p:nvPr/>
        </p:nvGrpSpPr>
        <p:grpSpPr>
          <a:xfrm>
            <a:off x="4772027" y="3371031"/>
            <a:ext cx="412799" cy="979725"/>
            <a:chOff x="4997571" y="2935044"/>
            <a:chExt cx="2432050" cy="5772151"/>
          </a:xfrm>
          <a:solidFill>
            <a:schemeClr val="bg1"/>
          </a:solidFill>
        </p:grpSpPr>
        <p:sp>
          <p:nvSpPr>
            <p:cNvPr id="49" name="Oval 7">
              <a:extLst>
                <a:ext uri="{FF2B5EF4-FFF2-40B4-BE49-F238E27FC236}">
                  <a16:creationId xmlns:a16="http://schemas.microsoft.com/office/drawing/2014/main" id="{250F10AA-D76C-4AE6-A799-E2CF7C861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1471" y="2935044"/>
              <a:ext cx="958850" cy="9556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58D7D47B-B433-4D7F-BC07-EF8ABE2D4C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7571" y="4095507"/>
              <a:ext cx="2432050" cy="4611688"/>
            </a:xfrm>
            <a:custGeom>
              <a:avLst/>
              <a:gdLst>
                <a:gd name="T0" fmla="*/ 415 w 736"/>
                <a:gd name="T1" fmla="*/ 6 h 1400"/>
                <a:gd name="T2" fmla="*/ 277 w 736"/>
                <a:gd name="T3" fmla="*/ 14 h 1400"/>
                <a:gd name="T4" fmla="*/ 115 w 736"/>
                <a:gd name="T5" fmla="*/ 108 h 1400"/>
                <a:gd name="T6" fmla="*/ 98 w 736"/>
                <a:gd name="T7" fmla="*/ 129 h 1400"/>
                <a:gd name="T8" fmla="*/ 9 w 736"/>
                <a:gd name="T9" fmla="*/ 361 h 1400"/>
                <a:gd name="T10" fmla="*/ 6 w 736"/>
                <a:gd name="T11" fmla="*/ 530 h 1400"/>
                <a:gd name="T12" fmla="*/ 151 w 736"/>
                <a:gd name="T13" fmla="*/ 530 h 1400"/>
                <a:gd name="T14" fmla="*/ 187 w 736"/>
                <a:gd name="T15" fmla="*/ 252 h 1400"/>
                <a:gd name="T16" fmla="*/ 187 w 736"/>
                <a:gd name="T17" fmla="*/ 556 h 1400"/>
                <a:gd name="T18" fmla="*/ 188 w 736"/>
                <a:gd name="T19" fmla="*/ 566 h 1400"/>
                <a:gd name="T20" fmla="*/ 187 w 736"/>
                <a:gd name="T21" fmla="*/ 571 h 1400"/>
                <a:gd name="T22" fmla="*/ 177 w 736"/>
                <a:gd name="T23" fmla="*/ 1293 h 1400"/>
                <a:gd name="T24" fmla="*/ 343 w 736"/>
                <a:gd name="T25" fmla="*/ 1293 h 1400"/>
                <a:gd name="T26" fmla="*/ 353 w 736"/>
                <a:gd name="T27" fmla="*/ 727 h 1400"/>
                <a:gd name="T28" fmla="*/ 377 w 736"/>
                <a:gd name="T29" fmla="*/ 727 h 1400"/>
                <a:gd name="T30" fmla="*/ 387 w 736"/>
                <a:gd name="T31" fmla="*/ 1293 h 1400"/>
                <a:gd name="T32" fmla="*/ 553 w 736"/>
                <a:gd name="T33" fmla="*/ 1293 h 1400"/>
                <a:gd name="T34" fmla="*/ 543 w 736"/>
                <a:gd name="T35" fmla="*/ 571 h 1400"/>
                <a:gd name="T36" fmla="*/ 540 w 736"/>
                <a:gd name="T37" fmla="*/ 550 h 1400"/>
                <a:gd name="T38" fmla="*/ 537 w 736"/>
                <a:gd name="T39" fmla="*/ 236 h 1400"/>
                <a:gd name="T40" fmla="*/ 582 w 736"/>
                <a:gd name="T41" fmla="*/ 530 h 1400"/>
                <a:gd name="T42" fmla="*/ 728 w 736"/>
                <a:gd name="T43" fmla="*/ 530 h 1400"/>
                <a:gd name="T44" fmla="*/ 709 w 736"/>
                <a:gd name="T45" fmla="*/ 286 h 1400"/>
                <a:gd name="T46" fmla="*/ 592 w 736"/>
                <a:gd name="T47" fmla="*/ 81 h 1400"/>
                <a:gd name="T48" fmla="*/ 415 w 736"/>
                <a:gd name="T49" fmla="*/ 6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6" h="1400">
                  <a:moveTo>
                    <a:pt x="415" y="6"/>
                  </a:moveTo>
                  <a:cubicBezTo>
                    <a:pt x="368" y="0"/>
                    <a:pt x="321" y="4"/>
                    <a:pt x="277" y="14"/>
                  </a:cubicBezTo>
                  <a:cubicBezTo>
                    <a:pt x="215" y="29"/>
                    <a:pt x="158" y="60"/>
                    <a:pt x="115" y="108"/>
                  </a:cubicBezTo>
                  <a:cubicBezTo>
                    <a:pt x="109" y="115"/>
                    <a:pt x="104" y="122"/>
                    <a:pt x="98" y="129"/>
                  </a:cubicBezTo>
                  <a:cubicBezTo>
                    <a:pt x="48" y="196"/>
                    <a:pt x="21" y="279"/>
                    <a:pt x="9" y="361"/>
                  </a:cubicBezTo>
                  <a:cubicBezTo>
                    <a:pt x="1" y="417"/>
                    <a:pt x="0" y="474"/>
                    <a:pt x="6" y="530"/>
                  </a:cubicBezTo>
                  <a:cubicBezTo>
                    <a:pt x="15" y="622"/>
                    <a:pt x="161" y="623"/>
                    <a:pt x="151" y="530"/>
                  </a:cubicBezTo>
                  <a:cubicBezTo>
                    <a:pt x="143" y="452"/>
                    <a:pt x="146" y="335"/>
                    <a:pt x="187" y="252"/>
                  </a:cubicBezTo>
                  <a:cubicBezTo>
                    <a:pt x="187" y="556"/>
                    <a:pt x="187" y="556"/>
                    <a:pt x="187" y="556"/>
                  </a:cubicBezTo>
                  <a:cubicBezTo>
                    <a:pt x="187" y="559"/>
                    <a:pt x="188" y="562"/>
                    <a:pt x="188" y="566"/>
                  </a:cubicBezTo>
                  <a:cubicBezTo>
                    <a:pt x="188" y="567"/>
                    <a:pt x="187" y="569"/>
                    <a:pt x="187" y="571"/>
                  </a:cubicBezTo>
                  <a:cubicBezTo>
                    <a:pt x="187" y="812"/>
                    <a:pt x="187" y="1052"/>
                    <a:pt x="177" y="1293"/>
                  </a:cubicBezTo>
                  <a:cubicBezTo>
                    <a:pt x="173" y="1400"/>
                    <a:pt x="339" y="1400"/>
                    <a:pt x="343" y="1293"/>
                  </a:cubicBezTo>
                  <a:cubicBezTo>
                    <a:pt x="351" y="1104"/>
                    <a:pt x="353" y="916"/>
                    <a:pt x="353" y="727"/>
                  </a:cubicBezTo>
                  <a:cubicBezTo>
                    <a:pt x="361" y="727"/>
                    <a:pt x="369" y="727"/>
                    <a:pt x="377" y="727"/>
                  </a:cubicBezTo>
                  <a:cubicBezTo>
                    <a:pt x="377" y="916"/>
                    <a:pt x="379" y="1105"/>
                    <a:pt x="387" y="1293"/>
                  </a:cubicBezTo>
                  <a:cubicBezTo>
                    <a:pt x="391" y="1400"/>
                    <a:pt x="557" y="1400"/>
                    <a:pt x="553" y="1293"/>
                  </a:cubicBezTo>
                  <a:cubicBezTo>
                    <a:pt x="543" y="1052"/>
                    <a:pt x="543" y="812"/>
                    <a:pt x="543" y="571"/>
                  </a:cubicBezTo>
                  <a:cubicBezTo>
                    <a:pt x="543" y="563"/>
                    <a:pt x="542" y="556"/>
                    <a:pt x="540" y="550"/>
                  </a:cubicBezTo>
                  <a:cubicBezTo>
                    <a:pt x="540" y="445"/>
                    <a:pt x="536" y="340"/>
                    <a:pt x="537" y="236"/>
                  </a:cubicBezTo>
                  <a:cubicBezTo>
                    <a:pt x="587" y="320"/>
                    <a:pt x="591" y="447"/>
                    <a:pt x="582" y="530"/>
                  </a:cubicBezTo>
                  <a:cubicBezTo>
                    <a:pt x="573" y="623"/>
                    <a:pt x="718" y="622"/>
                    <a:pt x="728" y="530"/>
                  </a:cubicBezTo>
                  <a:cubicBezTo>
                    <a:pt x="736" y="449"/>
                    <a:pt x="730" y="365"/>
                    <a:pt x="709" y="286"/>
                  </a:cubicBezTo>
                  <a:cubicBezTo>
                    <a:pt x="688" y="210"/>
                    <a:pt x="651" y="135"/>
                    <a:pt x="592" y="81"/>
                  </a:cubicBezTo>
                  <a:cubicBezTo>
                    <a:pt x="543" y="37"/>
                    <a:pt x="480" y="13"/>
                    <a:pt x="41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</p:grpSp>
      <p:sp>
        <p:nvSpPr>
          <p:cNvPr id="40" name="Arrow: Down 39">
            <a:extLst>
              <a:ext uri="{FF2B5EF4-FFF2-40B4-BE49-F238E27FC236}">
                <a16:creationId xmlns:a16="http://schemas.microsoft.com/office/drawing/2014/main" id="{C315EDA5-B17F-4E97-925E-42964D8EA09B}"/>
              </a:ext>
            </a:extLst>
          </p:cNvPr>
          <p:cNvSpPr/>
          <p:nvPr/>
        </p:nvSpPr>
        <p:spPr>
          <a:xfrm>
            <a:off x="4897053" y="4395566"/>
            <a:ext cx="162748" cy="402986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7CD77A5-9FF5-40C8-A97D-D5DF95DA57B4}"/>
              </a:ext>
            </a:extLst>
          </p:cNvPr>
          <p:cNvGrpSpPr/>
          <p:nvPr/>
        </p:nvGrpSpPr>
        <p:grpSpPr>
          <a:xfrm>
            <a:off x="4278239" y="4878135"/>
            <a:ext cx="305966" cy="562085"/>
            <a:chOff x="8081113" y="3991844"/>
            <a:chExt cx="185341" cy="340486"/>
          </a:xfrm>
        </p:grpSpPr>
        <p:sp>
          <p:nvSpPr>
            <p:cNvPr id="45" name="Oval 23">
              <a:extLst>
                <a:ext uri="{FF2B5EF4-FFF2-40B4-BE49-F238E27FC236}">
                  <a16:creationId xmlns:a16="http://schemas.microsoft.com/office/drawing/2014/main" id="{82A32DEE-049F-4CF1-8A2B-8F333EC5A6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57124" y="4288598"/>
              <a:ext cx="33320" cy="3019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46" name="Rectangle 24">
              <a:extLst>
                <a:ext uri="{FF2B5EF4-FFF2-40B4-BE49-F238E27FC236}">
                  <a16:creationId xmlns:a16="http://schemas.microsoft.com/office/drawing/2014/main" id="{B003DB63-2FCA-4D22-B9E1-BF5E83203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7773" y="4030370"/>
              <a:ext cx="152021" cy="24677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dirty="0"/>
            </a:p>
          </p:txBody>
        </p:sp>
        <p:sp>
          <p:nvSpPr>
            <p:cNvPr id="47" name="Freeform 25">
              <a:extLst>
                <a:ext uri="{FF2B5EF4-FFF2-40B4-BE49-F238E27FC236}">
                  <a16:creationId xmlns:a16="http://schemas.microsoft.com/office/drawing/2014/main" id="{46CCE79C-560B-4ECA-97C5-A977D9C5C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794" y="4007462"/>
              <a:ext cx="49980" cy="7288"/>
            </a:xfrm>
            <a:custGeom>
              <a:avLst/>
              <a:gdLst>
                <a:gd name="T0" fmla="*/ 7 w 159"/>
                <a:gd name="T1" fmla="*/ 26 h 26"/>
                <a:gd name="T2" fmla="*/ 152 w 159"/>
                <a:gd name="T3" fmla="*/ 26 h 26"/>
                <a:gd name="T4" fmla="*/ 159 w 159"/>
                <a:gd name="T5" fmla="*/ 15 h 26"/>
                <a:gd name="T6" fmla="*/ 159 w 159"/>
                <a:gd name="T7" fmla="*/ 12 h 26"/>
                <a:gd name="T8" fmla="*/ 152 w 159"/>
                <a:gd name="T9" fmla="*/ 0 h 26"/>
                <a:gd name="T10" fmla="*/ 7 w 159"/>
                <a:gd name="T11" fmla="*/ 0 h 26"/>
                <a:gd name="T12" fmla="*/ 0 w 159"/>
                <a:gd name="T13" fmla="*/ 12 h 26"/>
                <a:gd name="T14" fmla="*/ 0 w 159"/>
                <a:gd name="T15" fmla="*/ 15 h 26"/>
                <a:gd name="T16" fmla="*/ 7 w 159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26">
                  <a:moveTo>
                    <a:pt x="7" y="26"/>
                  </a:moveTo>
                  <a:cubicBezTo>
                    <a:pt x="152" y="26"/>
                    <a:pt x="152" y="26"/>
                    <a:pt x="152" y="26"/>
                  </a:cubicBezTo>
                  <a:cubicBezTo>
                    <a:pt x="156" y="26"/>
                    <a:pt x="159" y="21"/>
                    <a:pt x="159" y="15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5"/>
                    <a:pt x="156" y="0"/>
                    <a:pt x="15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5"/>
                    <a:pt x="0" y="1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1"/>
                    <a:pt x="3" y="26"/>
                    <a:pt x="7" y="2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57C2878D-8610-45E1-AF0C-4194BFDFC4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1113" y="3991844"/>
              <a:ext cx="185341" cy="340486"/>
            </a:xfrm>
            <a:custGeom>
              <a:avLst/>
              <a:gdLst>
                <a:gd name="T0" fmla="*/ 477 w 583"/>
                <a:gd name="T1" fmla="*/ 0 h 1167"/>
                <a:gd name="T2" fmla="*/ 106 w 583"/>
                <a:gd name="T3" fmla="*/ 0 h 1167"/>
                <a:gd name="T4" fmla="*/ 0 w 583"/>
                <a:gd name="T5" fmla="*/ 106 h 1167"/>
                <a:gd name="T6" fmla="*/ 0 w 583"/>
                <a:gd name="T7" fmla="*/ 1060 h 1167"/>
                <a:gd name="T8" fmla="*/ 106 w 583"/>
                <a:gd name="T9" fmla="*/ 1167 h 1167"/>
                <a:gd name="T10" fmla="*/ 477 w 583"/>
                <a:gd name="T11" fmla="*/ 1167 h 1167"/>
                <a:gd name="T12" fmla="*/ 583 w 583"/>
                <a:gd name="T13" fmla="*/ 1060 h 1167"/>
                <a:gd name="T14" fmla="*/ 583 w 583"/>
                <a:gd name="T15" fmla="*/ 106 h 1167"/>
                <a:gd name="T16" fmla="*/ 477 w 583"/>
                <a:gd name="T17" fmla="*/ 0 h 1167"/>
                <a:gd name="T18" fmla="*/ 212 w 583"/>
                <a:gd name="T19" fmla="*/ 65 h 1167"/>
                <a:gd name="T20" fmla="*/ 219 w 583"/>
                <a:gd name="T21" fmla="*/ 53 h 1167"/>
                <a:gd name="T22" fmla="*/ 364 w 583"/>
                <a:gd name="T23" fmla="*/ 53 h 1167"/>
                <a:gd name="T24" fmla="*/ 371 w 583"/>
                <a:gd name="T25" fmla="*/ 65 h 1167"/>
                <a:gd name="T26" fmla="*/ 371 w 583"/>
                <a:gd name="T27" fmla="*/ 68 h 1167"/>
                <a:gd name="T28" fmla="*/ 364 w 583"/>
                <a:gd name="T29" fmla="*/ 79 h 1167"/>
                <a:gd name="T30" fmla="*/ 219 w 583"/>
                <a:gd name="T31" fmla="*/ 79 h 1167"/>
                <a:gd name="T32" fmla="*/ 212 w 583"/>
                <a:gd name="T33" fmla="*/ 68 h 1167"/>
                <a:gd name="T34" fmla="*/ 212 w 583"/>
                <a:gd name="T35" fmla="*/ 65 h 1167"/>
                <a:gd name="T36" fmla="*/ 291 w 583"/>
                <a:gd name="T37" fmla="*/ 1122 h 1167"/>
                <a:gd name="T38" fmla="*/ 239 w 583"/>
                <a:gd name="T39" fmla="*/ 1069 h 1167"/>
                <a:gd name="T40" fmla="*/ 291 w 583"/>
                <a:gd name="T41" fmla="*/ 1016 h 1167"/>
                <a:gd name="T42" fmla="*/ 344 w 583"/>
                <a:gd name="T43" fmla="*/ 1069 h 1167"/>
                <a:gd name="T44" fmla="*/ 291 w 583"/>
                <a:gd name="T45" fmla="*/ 1122 h 1167"/>
                <a:gd name="T46" fmla="*/ 530 w 583"/>
                <a:gd name="T47" fmla="*/ 979 h 1167"/>
                <a:gd name="T48" fmla="*/ 53 w 583"/>
                <a:gd name="T49" fmla="*/ 979 h 1167"/>
                <a:gd name="T50" fmla="*/ 53 w 583"/>
                <a:gd name="T51" fmla="*/ 132 h 1167"/>
                <a:gd name="T52" fmla="*/ 530 w 583"/>
                <a:gd name="T53" fmla="*/ 132 h 1167"/>
                <a:gd name="T54" fmla="*/ 530 w 583"/>
                <a:gd name="T55" fmla="*/ 979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83" h="1167">
                  <a:moveTo>
                    <a:pt x="477" y="0"/>
                  </a:move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0" y="0"/>
                    <a:pt x="0" y="106"/>
                  </a:cubicBezTo>
                  <a:cubicBezTo>
                    <a:pt x="0" y="1060"/>
                    <a:pt x="0" y="1060"/>
                    <a:pt x="0" y="1060"/>
                  </a:cubicBezTo>
                  <a:cubicBezTo>
                    <a:pt x="0" y="1167"/>
                    <a:pt x="106" y="1167"/>
                    <a:pt x="106" y="1167"/>
                  </a:cubicBezTo>
                  <a:cubicBezTo>
                    <a:pt x="477" y="1167"/>
                    <a:pt x="477" y="1167"/>
                    <a:pt x="477" y="1167"/>
                  </a:cubicBezTo>
                  <a:cubicBezTo>
                    <a:pt x="477" y="1167"/>
                    <a:pt x="583" y="1167"/>
                    <a:pt x="583" y="1060"/>
                  </a:cubicBezTo>
                  <a:cubicBezTo>
                    <a:pt x="583" y="106"/>
                    <a:pt x="583" y="106"/>
                    <a:pt x="583" y="106"/>
                  </a:cubicBezTo>
                  <a:cubicBezTo>
                    <a:pt x="583" y="0"/>
                    <a:pt x="477" y="0"/>
                    <a:pt x="477" y="0"/>
                  </a:cubicBezTo>
                  <a:close/>
                  <a:moveTo>
                    <a:pt x="212" y="65"/>
                  </a:moveTo>
                  <a:cubicBezTo>
                    <a:pt x="212" y="58"/>
                    <a:pt x="215" y="53"/>
                    <a:pt x="219" y="53"/>
                  </a:cubicBezTo>
                  <a:cubicBezTo>
                    <a:pt x="364" y="53"/>
                    <a:pt x="364" y="53"/>
                    <a:pt x="364" y="53"/>
                  </a:cubicBezTo>
                  <a:cubicBezTo>
                    <a:pt x="368" y="53"/>
                    <a:pt x="371" y="58"/>
                    <a:pt x="371" y="65"/>
                  </a:cubicBezTo>
                  <a:cubicBezTo>
                    <a:pt x="371" y="68"/>
                    <a:pt x="371" y="68"/>
                    <a:pt x="371" y="68"/>
                  </a:cubicBezTo>
                  <a:cubicBezTo>
                    <a:pt x="371" y="74"/>
                    <a:pt x="368" y="79"/>
                    <a:pt x="364" y="79"/>
                  </a:cubicBezTo>
                  <a:cubicBezTo>
                    <a:pt x="219" y="79"/>
                    <a:pt x="219" y="79"/>
                    <a:pt x="219" y="79"/>
                  </a:cubicBezTo>
                  <a:cubicBezTo>
                    <a:pt x="215" y="79"/>
                    <a:pt x="212" y="74"/>
                    <a:pt x="212" y="68"/>
                  </a:cubicBezTo>
                  <a:lnTo>
                    <a:pt x="212" y="65"/>
                  </a:lnTo>
                  <a:close/>
                  <a:moveTo>
                    <a:pt x="291" y="1122"/>
                  </a:moveTo>
                  <a:cubicBezTo>
                    <a:pt x="262" y="1122"/>
                    <a:pt x="239" y="1098"/>
                    <a:pt x="239" y="1069"/>
                  </a:cubicBezTo>
                  <a:cubicBezTo>
                    <a:pt x="239" y="1040"/>
                    <a:pt x="262" y="1016"/>
                    <a:pt x="291" y="1016"/>
                  </a:cubicBezTo>
                  <a:cubicBezTo>
                    <a:pt x="321" y="1016"/>
                    <a:pt x="344" y="1040"/>
                    <a:pt x="344" y="1069"/>
                  </a:cubicBezTo>
                  <a:cubicBezTo>
                    <a:pt x="344" y="1098"/>
                    <a:pt x="321" y="1122"/>
                    <a:pt x="291" y="1122"/>
                  </a:cubicBezTo>
                  <a:close/>
                  <a:moveTo>
                    <a:pt x="530" y="979"/>
                  </a:moveTo>
                  <a:cubicBezTo>
                    <a:pt x="53" y="979"/>
                    <a:pt x="53" y="979"/>
                    <a:pt x="53" y="979"/>
                  </a:cubicBezTo>
                  <a:cubicBezTo>
                    <a:pt x="53" y="132"/>
                    <a:pt x="53" y="132"/>
                    <a:pt x="53" y="132"/>
                  </a:cubicBezTo>
                  <a:cubicBezTo>
                    <a:pt x="530" y="132"/>
                    <a:pt x="530" y="132"/>
                    <a:pt x="530" y="132"/>
                  </a:cubicBezTo>
                  <a:lnTo>
                    <a:pt x="530" y="9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AF8AD24-1C3D-4498-99B2-E77413B795E8}"/>
              </a:ext>
            </a:extLst>
          </p:cNvPr>
          <p:cNvGrpSpPr/>
          <p:nvPr/>
        </p:nvGrpSpPr>
        <p:grpSpPr>
          <a:xfrm>
            <a:off x="4738365" y="4942487"/>
            <a:ext cx="564797" cy="433383"/>
            <a:chOff x="8336373" y="4067432"/>
            <a:chExt cx="313504" cy="240559"/>
          </a:xfrm>
        </p:grpSpPr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C2E76D78-3BC0-4548-91F7-525796A853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6373" y="4067432"/>
              <a:ext cx="313504" cy="240559"/>
            </a:xfrm>
            <a:custGeom>
              <a:avLst/>
              <a:gdLst>
                <a:gd name="T0" fmla="*/ 994 w 994"/>
                <a:gd name="T1" fmla="*/ 636 h 711"/>
                <a:gd name="T2" fmla="*/ 994 w 994"/>
                <a:gd name="T3" fmla="*/ 0 h 711"/>
                <a:gd name="T4" fmla="*/ 0 w 994"/>
                <a:gd name="T5" fmla="*/ 0 h 711"/>
                <a:gd name="T6" fmla="*/ 0 w 994"/>
                <a:gd name="T7" fmla="*/ 636 h 711"/>
                <a:gd name="T8" fmla="*/ 405 w 994"/>
                <a:gd name="T9" fmla="*/ 636 h 711"/>
                <a:gd name="T10" fmla="*/ 405 w 994"/>
                <a:gd name="T11" fmla="*/ 677 h 711"/>
                <a:gd name="T12" fmla="*/ 193 w 994"/>
                <a:gd name="T13" fmla="*/ 677 h 711"/>
                <a:gd name="T14" fmla="*/ 193 w 994"/>
                <a:gd name="T15" fmla="*/ 711 h 711"/>
                <a:gd name="T16" fmla="*/ 788 w 994"/>
                <a:gd name="T17" fmla="*/ 711 h 711"/>
                <a:gd name="T18" fmla="*/ 788 w 994"/>
                <a:gd name="T19" fmla="*/ 677 h 711"/>
                <a:gd name="T20" fmla="*/ 580 w 994"/>
                <a:gd name="T21" fmla="*/ 677 h 711"/>
                <a:gd name="T22" fmla="*/ 580 w 994"/>
                <a:gd name="T23" fmla="*/ 636 h 711"/>
                <a:gd name="T24" fmla="*/ 994 w 994"/>
                <a:gd name="T25" fmla="*/ 636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4" h="711">
                  <a:moveTo>
                    <a:pt x="994" y="636"/>
                  </a:moveTo>
                  <a:lnTo>
                    <a:pt x="994" y="0"/>
                  </a:lnTo>
                  <a:lnTo>
                    <a:pt x="0" y="0"/>
                  </a:lnTo>
                  <a:lnTo>
                    <a:pt x="0" y="636"/>
                  </a:lnTo>
                  <a:lnTo>
                    <a:pt x="405" y="636"/>
                  </a:lnTo>
                  <a:lnTo>
                    <a:pt x="405" y="677"/>
                  </a:lnTo>
                  <a:lnTo>
                    <a:pt x="193" y="677"/>
                  </a:lnTo>
                  <a:lnTo>
                    <a:pt x="193" y="711"/>
                  </a:lnTo>
                  <a:lnTo>
                    <a:pt x="788" y="711"/>
                  </a:lnTo>
                  <a:lnTo>
                    <a:pt x="788" y="677"/>
                  </a:lnTo>
                  <a:lnTo>
                    <a:pt x="580" y="677"/>
                  </a:lnTo>
                  <a:lnTo>
                    <a:pt x="580" y="636"/>
                  </a:lnTo>
                  <a:lnTo>
                    <a:pt x="994" y="6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C0EF10D5-A93D-4C22-A4D3-818545ED97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59397" y="4085702"/>
              <a:ext cx="267456" cy="17661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/>
            </a:p>
          </p:txBody>
        </p:sp>
      </p:grp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7F31E409-382F-45D2-B85E-F351DEE9AE1A}"/>
              </a:ext>
            </a:extLst>
          </p:cNvPr>
          <p:cNvSpPr/>
          <p:nvPr/>
        </p:nvSpPr>
        <p:spPr>
          <a:xfrm>
            <a:off x="5567766" y="3370547"/>
            <a:ext cx="0" cy="2841679"/>
          </a:xfrm>
          <a:custGeom>
            <a:avLst/>
            <a:gdLst>
              <a:gd name="connsiteX0" fmla="*/ 0 w 0"/>
              <a:gd name="connsiteY0" fmla="*/ 0 h 1577340"/>
              <a:gd name="connsiteX1" fmla="*/ 0 w 0"/>
              <a:gd name="connsiteY1" fmla="*/ 1577340 h 1577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77340">
                <a:moveTo>
                  <a:pt x="0" y="0"/>
                </a:moveTo>
                <a:lnTo>
                  <a:pt x="0" y="1577340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4CFD516-A91A-410E-B974-9C8F35E9654A}"/>
              </a:ext>
            </a:extLst>
          </p:cNvPr>
          <p:cNvSpPr txBox="1"/>
          <p:nvPr/>
        </p:nvSpPr>
        <p:spPr>
          <a:xfrm>
            <a:off x="1280319" y="5778838"/>
            <a:ext cx="11939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Yesterday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AD8DB1CF-DB8A-423B-8F23-AAEA74C21C48}"/>
              </a:ext>
            </a:extLst>
          </p:cNvPr>
          <p:cNvSpPr txBox="1"/>
          <p:nvPr/>
        </p:nvSpPr>
        <p:spPr>
          <a:xfrm>
            <a:off x="3732413" y="5778838"/>
            <a:ext cx="119393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day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FB71927-CDE4-4DA3-ADC1-CE694DA29EF9}"/>
              </a:ext>
            </a:extLst>
          </p:cNvPr>
          <p:cNvSpPr txBox="1"/>
          <p:nvPr/>
        </p:nvSpPr>
        <p:spPr>
          <a:xfrm>
            <a:off x="6235950" y="5778838"/>
            <a:ext cx="129285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 sz="1800" dirty="0">
                <a:latin typeface="Calibri" panose="020F0502020204030204" pitchFamily="34" charset="0"/>
              </a:rPr>
              <a:t>Tomorrow</a:t>
            </a:r>
          </a:p>
        </p:txBody>
      </p:sp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2904C48C-C036-485E-95F0-D09413A15CA0}"/>
              </a:ext>
            </a:extLst>
          </p:cNvPr>
          <p:cNvSpPr/>
          <p:nvPr/>
        </p:nvSpPr>
        <p:spPr>
          <a:xfrm>
            <a:off x="8194174" y="3370547"/>
            <a:ext cx="0" cy="2841679"/>
          </a:xfrm>
          <a:custGeom>
            <a:avLst/>
            <a:gdLst>
              <a:gd name="connsiteX0" fmla="*/ 0 w 0"/>
              <a:gd name="connsiteY0" fmla="*/ 0 h 1577340"/>
              <a:gd name="connsiteX1" fmla="*/ 0 w 0"/>
              <a:gd name="connsiteY1" fmla="*/ 1577340 h 1577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577340">
                <a:moveTo>
                  <a:pt x="0" y="0"/>
                </a:moveTo>
                <a:lnTo>
                  <a:pt x="0" y="1577340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4F82B18-2219-4483-9292-3D6FFC4A9E5F}"/>
              </a:ext>
            </a:extLst>
          </p:cNvPr>
          <p:cNvSpPr txBox="1"/>
          <p:nvPr/>
        </p:nvSpPr>
        <p:spPr>
          <a:xfrm>
            <a:off x="8798913" y="5778838"/>
            <a:ext cx="20030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</a:lstStyle>
          <a:p>
            <a:r>
              <a:rPr lang="en-US" sz="1800" dirty="0">
                <a:latin typeface="Calibri" panose="020F0502020204030204" pitchFamily="34" charset="0"/>
              </a:rPr>
              <a:t>Future winners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22E3A4B-429F-4CAA-8783-0334B9B19314}"/>
              </a:ext>
            </a:extLst>
          </p:cNvPr>
          <p:cNvGrpSpPr/>
          <p:nvPr/>
        </p:nvGrpSpPr>
        <p:grpSpPr>
          <a:xfrm>
            <a:off x="6852908" y="3371031"/>
            <a:ext cx="412799" cy="979725"/>
            <a:chOff x="4997571" y="2935044"/>
            <a:chExt cx="2432050" cy="5772151"/>
          </a:xfrm>
          <a:solidFill>
            <a:schemeClr val="bg1"/>
          </a:solidFill>
        </p:grpSpPr>
        <p:sp>
          <p:nvSpPr>
            <p:cNvPr id="68" name="Oval 7">
              <a:extLst>
                <a:ext uri="{FF2B5EF4-FFF2-40B4-BE49-F238E27FC236}">
                  <a16:creationId xmlns:a16="http://schemas.microsoft.com/office/drawing/2014/main" id="{AB0E67A5-4F08-462D-8753-A249EAD162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1471" y="2935044"/>
              <a:ext cx="958850" cy="9556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69" name="Freeform 8">
              <a:extLst>
                <a:ext uri="{FF2B5EF4-FFF2-40B4-BE49-F238E27FC236}">
                  <a16:creationId xmlns:a16="http://schemas.microsoft.com/office/drawing/2014/main" id="{63F45480-07FD-45FB-9881-AA72032B5C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7571" y="4095507"/>
              <a:ext cx="2432050" cy="4611688"/>
            </a:xfrm>
            <a:custGeom>
              <a:avLst/>
              <a:gdLst>
                <a:gd name="T0" fmla="*/ 415 w 736"/>
                <a:gd name="T1" fmla="*/ 6 h 1400"/>
                <a:gd name="T2" fmla="*/ 277 w 736"/>
                <a:gd name="T3" fmla="*/ 14 h 1400"/>
                <a:gd name="T4" fmla="*/ 115 w 736"/>
                <a:gd name="T5" fmla="*/ 108 h 1400"/>
                <a:gd name="T6" fmla="*/ 98 w 736"/>
                <a:gd name="T7" fmla="*/ 129 h 1400"/>
                <a:gd name="T8" fmla="*/ 9 w 736"/>
                <a:gd name="T9" fmla="*/ 361 h 1400"/>
                <a:gd name="T10" fmla="*/ 6 w 736"/>
                <a:gd name="T11" fmla="*/ 530 h 1400"/>
                <a:gd name="T12" fmla="*/ 151 w 736"/>
                <a:gd name="T13" fmla="*/ 530 h 1400"/>
                <a:gd name="T14" fmla="*/ 187 w 736"/>
                <a:gd name="T15" fmla="*/ 252 h 1400"/>
                <a:gd name="T16" fmla="*/ 187 w 736"/>
                <a:gd name="T17" fmla="*/ 556 h 1400"/>
                <a:gd name="T18" fmla="*/ 188 w 736"/>
                <a:gd name="T19" fmla="*/ 566 h 1400"/>
                <a:gd name="T20" fmla="*/ 187 w 736"/>
                <a:gd name="T21" fmla="*/ 571 h 1400"/>
                <a:gd name="T22" fmla="*/ 177 w 736"/>
                <a:gd name="T23" fmla="*/ 1293 h 1400"/>
                <a:gd name="T24" fmla="*/ 343 w 736"/>
                <a:gd name="T25" fmla="*/ 1293 h 1400"/>
                <a:gd name="T26" fmla="*/ 353 w 736"/>
                <a:gd name="T27" fmla="*/ 727 h 1400"/>
                <a:gd name="T28" fmla="*/ 377 w 736"/>
                <a:gd name="T29" fmla="*/ 727 h 1400"/>
                <a:gd name="T30" fmla="*/ 387 w 736"/>
                <a:gd name="T31" fmla="*/ 1293 h 1400"/>
                <a:gd name="T32" fmla="*/ 553 w 736"/>
                <a:gd name="T33" fmla="*/ 1293 h 1400"/>
                <a:gd name="T34" fmla="*/ 543 w 736"/>
                <a:gd name="T35" fmla="*/ 571 h 1400"/>
                <a:gd name="T36" fmla="*/ 540 w 736"/>
                <a:gd name="T37" fmla="*/ 550 h 1400"/>
                <a:gd name="T38" fmla="*/ 537 w 736"/>
                <a:gd name="T39" fmla="*/ 236 h 1400"/>
                <a:gd name="T40" fmla="*/ 582 w 736"/>
                <a:gd name="T41" fmla="*/ 530 h 1400"/>
                <a:gd name="T42" fmla="*/ 728 w 736"/>
                <a:gd name="T43" fmla="*/ 530 h 1400"/>
                <a:gd name="T44" fmla="*/ 709 w 736"/>
                <a:gd name="T45" fmla="*/ 286 h 1400"/>
                <a:gd name="T46" fmla="*/ 592 w 736"/>
                <a:gd name="T47" fmla="*/ 81 h 1400"/>
                <a:gd name="T48" fmla="*/ 415 w 736"/>
                <a:gd name="T49" fmla="*/ 6 h 1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6" h="1400">
                  <a:moveTo>
                    <a:pt x="415" y="6"/>
                  </a:moveTo>
                  <a:cubicBezTo>
                    <a:pt x="368" y="0"/>
                    <a:pt x="321" y="4"/>
                    <a:pt x="277" y="14"/>
                  </a:cubicBezTo>
                  <a:cubicBezTo>
                    <a:pt x="215" y="29"/>
                    <a:pt x="158" y="60"/>
                    <a:pt x="115" y="108"/>
                  </a:cubicBezTo>
                  <a:cubicBezTo>
                    <a:pt x="109" y="115"/>
                    <a:pt x="104" y="122"/>
                    <a:pt x="98" y="129"/>
                  </a:cubicBezTo>
                  <a:cubicBezTo>
                    <a:pt x="48" y="196"/>
                    <a:pt x="21" y="279"/>
                    <a:pt x="9" y="361"/>
                  </a:cubicBezTo>
                  <a:cubicBezTo>
                    <a:pt x="1" y="417"/>
                    <a:pt x="0" y="474"/>
                    <a:pt x="6" y="530"/>
                  </a:cubicBezTo>
                  <a:cubicBezTo>
                    <a:pt x="15" y="622"/>
                    <a:pt x="161" y="623"/>
                    <a:pt x="151" y="530"/>
                  </a:cubicBezTo>
                  <a:cubicBezTo>
                    <a:pt x="143" y="452"/>
                    <a:pt x="146" y="335"/>
                    <a:pt x="187" y="252"/>
                  </a:cubicBezTo>
                  <a:cubicBezTo>
                    <a:pt x="187" y="556"/>
                    <a:pt x="187" y="556"/>
                    <a:pt x="187" y="556"/>
                  </a:cubicBezTo>
                  <a:cubicBezTo>
                    <a:pt x="187" y="559"/>
                    <a:pt x="188" y="562"/>
                    <a:pt x="188" y="566"/>
                  </a:cubicBezTo>
                  <a:cubicBezTo>
                    <a:pt x="188" y="567"/>
                    <a:pt x="187" y="569"/>
                    <a:pt x="187" y="571"/>
                  </a:cubicBezTo>
                  <a:cubicBezTo>
                    <a:pt x="187" y="812"/>
                    <a:pt x="187" y="1052"/>
                    <a:pt x="177" y="1293"/>
                  </a:cubicBezTo>
                  <a:cubicBezTo>
                    <a:pt x="173" y="1400"/>
                    <a:pt x="339" y="1400"/>
                    <a:pt x="343" y="1293"/>
                  </a:cubicBezTo>
                  <a:cubicBezTo>
                    <a:pt x="351" y="1104"/>
                    <a:pt x="353" y="916"/>
                    <a:pt x="353" y="727"/>
                  </a:cubicBezTo>
                  <a:cubicBezTo>
                    <a:pt x="361" y="727"/>
                    <a:pt x="369" y="727"/>
                    <a:pt x="377" y="727"/>
                  </a:cubicBezTo>
                  <a:cubicBezTo>
                    <a:pt x="377" y="916"/>
                    <a:pt x="379" y="1105"/>
                    <a:pt x="387" y="1293"/>
                  </a:cubicBezTo>
                  <a:cubicBezTo>
                    <a:pt x="391" y="1400"/>
                    <a:pt x="557" y="1400"/>
                    <a:pt x="553" y="1293"/>
                  </a:cubicBezTo>
                  <a:cubicBezTo>
                    <a:pt x="543" y="1052"/>
                    <a:pt x="543" y="812"/>
                    <a:pt x="543" y="571"/>
                  </a:cubicBezTo>
                  <a:cubicBezTo>
                    <a:pt x="543" y="563"/>
                    <a:pt x="542" y="556"/>
                    <a:pt x="540" y="550"/>
                  </a:cubicBezTo>
                  <a:cubicBezTo>
                    <a:pt x="540" y="445"/>
                    <a:pt x="536" y="340"/>
                    <a:pt x="537" y="236"/>
                  </a:cubicBezTo>
                  <a:cubicBezTo>
                    <a:pt x="587" y="320"/>
                    <a:pt x="591" y="447"/>
                    <a:pt x="582" y="530"/>
                  </a:cubicBezTo>
                  <a:cubicBezTo>
                    <a:pt x="573" y="623"/>
                    <a:pt x="718" y="622"/>
                    <a:pt x="728" y="530"/>
                  </a:cubicBezTo>
                  <a:cubicBezTo>
                    <a:pt x="736" y="449"/>
                    <a:pt x="730" y="365"/>
                    <a:pt x="709" y="286"/>
                  </a:cubicBezTo>
                  <a:cubicBezTo>
                    <a:pt x="688" y="210"/>
                    <a:pt x="651" y="135"/>
                    <a:pt x="592" y="81"/>
                  </a:cubicBezTo>
                  <a:cubicBezTo>
                    <a:pt x="543" y="37"/>
                    <a:pt x="480" y="13"/>
                    <a:pt x="41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ACBBA282-39AF-4D67-9DCA-965B4212B5FE}"/>
              </a:ext>
            </a:extLst>
          </p:cNvPr>
          <p:cNvGrpSpPr/>
          <p:nvPr/>
        </p:nvGrpSpPr>
        <p:grpSpPr>
          <a:xfrm>
            <a:off x="6834849" y="4878135"/>
            <a:ext cx="305966" cy="562085"/>
            <a:chOff x="8081113" y="3991844"/>
            <a:chExt cx="185341" cy="340486"/>
          </a:xfrm>
        </p:grpSpPr>
        <p:sp>
          <p:nvSpPr>
            <p:cNvPr id="100" name="Oval 23">
              <a:extLst>
                <a:ext uri="{FF2B5EF4-FFF2-40B4-BE49-F238E27FC236}">
                  <a16:creationId xmlns:a16="http://schemas.microsoft.com/office/drawing/2014/main" id="{52E86731-0862-435B-AAF5-DD18EC1D9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57124" y="4288598"/>
              <a:ext cx="33320" cy="3019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01" name="Rectangle 24">
              <a:extLst>
                <a:ext uri="{FF2B5EF4-FFF2-40B4-BE49-F238E27FC236}">
                  <a16:creationId xmlns:a16="http://schemas.microsoft.com/office/drawing/2014/main" id="{B3C19892-189B-46B4-B04A-CC4CA106D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7773" y="4030370"/>
              <a:ext cx="152021" cy="24677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dirty="0"/>
            </a:p>
          </p:txBody>
        </p:sp>
        <p:sp>
          <p:nvSpPr>
            <p:cNvPr id="102" name="Freeform 25">
              <a:extLst>
                <a:ext uri="{FF2B5EF4-FFF2-40B4-BE49-F238E27FC236}">
                  <a16:creationId xmlns:a16="http://schemas.microsoft.com/office/drawing/2014/main" id="{249FBAAD-88B8-4EFB-975B-08E52476FCA8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794" y="4007462"/>
              <a:ext cx="49980" cy="7288"/>
            </a:xfrm>
            <a:custGeom>
              <a:avLst/>
              <a:gdLst>
                <a:gd name="T0" fmla="*/ 7 w 159"/>
                <a:gd name="T1" fmla="*/ 26 h 26"/>
                <a:gd name="T2" fmla="*/ 152 w 159"/>
                <a:gd name="T3" fmla="*/ 26 h 26"/>
                <a:gd name="T4" fmla="*/ 159 w 159"/>
                <a:gd name="T5" fmla="*/ 15 h 26"/>
                <a:gd name="T6" fmla="*/ 159 w 159"/>
                <a:gd name="T7" fmla="*/ 12 h 26"/>
                <a:gd name="T8" fmla="*/ 152 w 159"/>
                <a:gd name="T9" fmla="*/ 0 h 26"/>
                <a:gd name="T10" fmla="*/ 7 w 159"/>
                <a:gd name="T11" fmla="*/ 0 h 26"/>
                <a:gd name="T12" fmla="*/ 0 w 159"/>
                <a:gd name="T13" fmla="*/ 12 h 26"/>
                <a:gd name="T14" fmla="*/ 0 w 159"/>
                <a:gd name="T15" fmla="*/ 15 h 26"/>
                <a:gd name="T16" fmla="*/ 7 w 159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26">
                  <a:moveTo>
                    <a:pt x="7" y="26"/>
                  </a:moveTo>
                  <a:cubicBezTo>
                    <a:pt x="152" y="26"/>
                    <a:pt x="152" y="26"/>
                    <a:pt x="152" y="26"/>
                  </a:cubicBezTo>
                  <a:cubicBezTo>
                    <a:pt x="156" y="26"/>
                    <a:pt x="159" y="21"/>
                    <a:pt x="159" y="15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5"/>
                    <a:pt x="156" y="0"/>
                    <a:pt x="15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5"/>
                    <a:pt x="0" y="1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1"/>
                    <a:pt x="3" y="26"/>
                    <a:pt x="7" y="2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03" name="Freeform 26">
              <a:extLst>
                <a:ext uri="{FF2B5EF4-FFF2-40B4-BE49-F238E27FC236}">
                  <a16:creationId xmlns:a16="http://schemas.microsoft.com/office/drawing/2014/main" id="{EDB89C1A-5126-47CB-8475-9DC812EE84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1113" y="3991844"/>
              <a:ext cx="185341" cy="340486"/>
            </a:xfrm>
            <a:custGeom>
              <a:avLst/>
              <a:gdLst>
                <a:gd name="T0" fmla="*/ 477 w 583"/>
                <a:gd name="T1" fmla="*/ 0 h 1167"/>
                <a:gd name="T2" fmla="*/ 106 w 583"/>
                <a:gd name="T3" fmla="*/ 0 h 1167"/>
                <a:gd name="T4" fmla="*/ 0 w 583"/>
                <a:gd name="T5" fmla="*/ 106 h 1167"/>
                <a:gd name="T6" fmla="*/ 0 w 583"/>
                <a:gd name="T7" fmla="*/ 1060 h 1167"/>
                <a:gd name="T8" fmla="*/ 106 w 583"/>
                <a:gd name="T9" fmla="*/ 1167 h 1167"/>
                <a:gd name="T10" fmla="*/ 477 w 583"/>
                <a:gd name="T11" fmla="*/ 1167 h 1167"/>
                <a:gd name="T12" fmla="*/ 583 w 583"/>
                <a:gd name="T13" fmla="*/ 1060 h 1167"/>
                <a:gd name="T14" fmla="*/ 583 w 583"/>
                <a:gd name="T15" fmla="*/ 106 h 1167"/>
                <a:gd name="T16" fmla="*/ 477 w 583"/>
                <a:gd name="T17" fmla="*/ 0 h 1167"/>
                <a:gd name="T18" fmla="*/ 212 w 583"/>
                <a:gd name="T19" fmla="*/ 65 h 1167"/>
                <a:gd name="T20" fmla="*/ 219 w 583"/>
                <a:gd name="T21" fmla="*/ 53 h 1167"/>
                <a:gd name="T22" fmla="*/ 364 w 583"/>
                <a:gd name="T23" fmla="*/ 53 h 1167"/>
                <a:gd name="T24" fmla="*/ 371 w 583"/>
                <a:gd name="T25" fmla="*/ 65 h 1167"/>
                <a:gd name="T26" fmla="*/ 371 w 583"/>
                <a:gd name="T27" fmla="*/ 68 h 1167"/>
                <a:gd name="T28" fmla="*/ 364 w 583"/>
                <a:gd name="T29" fmla="*/ 79 h 1167"/>
                <a:gd name="T30" fmla="*/ 219 w 583"/>
                <a:gd name="T31" fmla="*/ 79 h 1167"/>
                <a:gd name="T32" fmla="*/ 212 w 583"/>
                <a:gd name="T33" fmla="*/ 68 h 1167"/>
                <a:gd name="T34" fmla="*/ 212 w 583"/>
                <a:gd name="T35" fmla="*/ 65 h 1167"/>
                <a:gd name="T36" fmla="*/ 291 w 583"/>
                <a:gd name="T37" fmla="*/ 1122 h 1167"/>
                <a:gd name="T38" fmla="*/ 239 w 583"/>
                <a:gd name="T39" fmla="*/ 1069 h 1167"/>
                <a:gd name="T40" fmla="*/ 291 w 583"/>
                <a:gd name="T41" fmla="*/ 1016 h 1167"/>
                <a:gd name="T42" fmla="*/ 344 w 583"/>
                <a:gd name="T43" fmla="*/ 1069 h 1167"/>
                <a:gd name="T44" fmla="*/ 291 w 583"/>
                <a:gd name="T45" fmla="*/ 1122 h 1167"/>
                <a:gd name="T46" fmla="*/ 530 w 583"/>
                <a:gd name="T47" fmla="*/ 979 h 1167"/>
                <a:gd name="T48" fmla="*/ 53 w 583"/>
                <a:gd name="T49" fmla="*/ 979 h 1167"/>
                <a:gd name="T50" fmla="*/ 53 w 583"/>
                <a:gd name="T51" fmla="*/ 132 h 1167"/>
                <a:gd name="T52" fmla="*/ 530 w 583"/>
                <a:gd name="T53" fmla="*/ 132 h 1167"/>
                <a:gd name="T54" fmla="*/ 530 w 583"/>
                <a:gd name="T55" fmla="*/ 979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83" h="1167">
                  <a:moveTo>
                    <a:pt x="477" y="0"/>
                  </a:move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0" y="0"/>
                    <a:pt x="0" y="106"/>
                  </a:cubicBezTo>
                  <a:cubicBezTo>
                    <a:pt x="0" y="1060"/>
                    <a:pt x="0" y="1060"/>
                    <a:pt x="0" y="1060"/>
                  </a:cubicBezTo>
                  <a:cubicBezTo>
                    <a:pt x="0" y="1167"/>
                    <a:pt x="106" y="1167"/>
                    <a:pt x="106" y="1167"/>
                  </a:cubicBezTo>
                  <a:cubicBezTo>
                    <a:pt x="477" y="1167"/>
                    <a:pt x="477" y="1167"/>
                    <a:pt x="477" y="1167"/>
                  </a:cubicBezTo>
                  <a:cubicBezTo>
                    <a:pt x="477" y="1167"/>
                    <a:pt x="583" y="1167"/>
                    <a:pt x="583" y="1060"/>
                  </a:cubicBezTo>
                  <a:cubicBezTo>
                    <a:pt x="583" y="106"/>
                    <a:pt x="583" y="106"/>
                    <a:pt x="583" y="106"/>
                  </a:cubicBezTo>
                  <a:cubicBezTo>
                    <a:pt x="583" y="0"/>
                    <a:pt x="477" y="0"/>
                    <a:pt x="477" y="0"/>
                  </a:cubicBezTo>
                  <a:close/>
                  <a:moveTo>
                    <a:pt x="212" y="65"/>
                  </a:moveTo>
                  <a:cubicBezTo>
                    <a:pt x="212" y="58"/>
                    <a:pt x="215" y="53"/>
                    <a:pt x="219" y="53"/>
                  </a:cubicBezTo>
                  <a:cubicBezTo>
                    <a:pt x="364" y="53"/>
                    <a:pt x="364" y="53"/>
                    <a:pt x="364" y="53"/>
                  </a:cubicBezTo>
                  <a:cubicBezTo>
                    <a:pt x="368" y="53"/>
                    <a:pt x="371" y="58"/>
                    <a:pt x="371" y="65"/>
                  </a:cubicBezTo>
                  <a:cubicBezTo>
                    <a:pt x="371" y="68"/>
                    <a:pt x="371" y="68"/>
                    <a:pt x="371" y="68"/>
                  </a:cubicBezTo>
                  <a:cubicBezTo>
                    <a:pt x="371" y="74"/>
                    <a:pt x="368" y="79"/>
                    <a:pt x="364" y="79"/>
                  </a:cubicBezTo>
                  <a:cubicBezTo>
                    <a:pt x="219" y="79"/>
                    <a:pt x="219" y="79"/>
                    <a:pt x="219" y="79"/>
                  </a:cubicBezTo>
                  <a:cubicBezTo>
                    <a:pt x="215" y="79"/>
                    <a:pt x="212" y="74"/>
                    <a:pt x="212" y="68"/>
                  </a:cubicBezTo>
                  <a:lnTo>
                    <a:pt x="212" y="65"/>
                  </a:lnTo>
                  <a:close/>
                  <a:moveTo>
                    <a:pt x="291" y="1122"/>
                  </a:moveTo>
                  <a:cubicBezTo>
                    <a:pt x="262" y="1122"/>
                    <a:pt x="239" y="1098"/>
                    <a:pt x="239" y="1069"/>
                  </a:cubicBezTo>
                  <a:cubicBezTo>
                    <a:pt x="239" y="1040"/>
                    <a:pt x="262" y="1016"/>
                    <a:pt x="291" y="1016"/>
                  </a:cubicBezTo>
                  <a:cubicBezTo>
                    <a:pt x="321" y="1016"/>
                    <a:pt x="344" y="1040"/>
                    <a:pt x="344" y="1069"/>
                  </a:cubicBezTo>
                  <a:cubicBezTo>
                    <a:pt x="344" y="1098"/>
                    <a:pt x="321" y="1122"/>
                    <a:pt x="291" y="1122"/>
                  </a:cubicBezTo>
                  <a:close/>
                  <a:moveTo>
                    <a:pt x="530" y="979"/>
                  </a:moveTo>
                  <a:cubicBezTo>
                    <a:pt x="53" y="979"/>
                    <a:pt x="53" y="979"/>
                    <a:pt x="53" y="979"/>
                  </a:cubicBezTo>
                  <a:cubicBezTo>
                    <a:pt x="53" y="132"/>
                    <a:pt x="53" y="132"/>
                    <a:pt x="53" y="132"/>
                  </a:cubicBezTo>
                  <a:cubicBezTo>
                    <a:pt x="530" y="132"/>
                    <a:pt x="530" y="132"/>
                    <a:pt x="530" y="132"/>
                  </a:cubicBezTo>
                  <a:lnTo>
                    <a:pt x="530" y="9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304CCADE-A871-472A-B9A9-B7192796DDDE}"/>
              </a:ext>
            </a:extLst>
          </p:cNvPr>
          <p:cNvGrpSpPr/>
          <p:nvPr/>
        </p:nvGrpSpPr>
        <p:grpSpPr>
          <a:xfrm>
            <a:off x="7294974" y="4942487"/>
            <a:ext cx="564797" cy="433383"/>
            <a:chOff x="8336373" y="4067432"/>
            <a:chExt cx="313504" cy="240559"/>
          </a:xfrm>
        </p:grpSpPr>
        <p:sp>
          <p:nvSpPr>
            <p:cNvPr id="105" name="Freeform 42">
              <a:extLst>
                <a:ext uri="{FF2B5EF4-FFF2-40B4-BE49-F238E27FC236}">
                  <a16:creationId xmlns:a16="http://schemas.microsoft.com/office/drawing/2014/main" id="{7E32A48D-AB0F-41C5-BEB6-0CA9B5ADD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6373" y="4067432"/>
              <a:ext cx="313504" cy="240559"/>
            </a:xfrm>
            <a:custGeom>
              <a:avLst/>
              <a:gdLst>
                <a:gd name="T0" fmla="*/ 994 w 994"/>
                <a:gd name="T1" fmla="*/ 636 h 711"/>
                <a:gd name="T2" fmla="*/ 994 w 994"/>
                <a:gd name="T3" fmla="*/ 0 h 711"/>
                <a:gd name="T4" fmla="*/ 0 w 994"/>
                <a:gd name="T5" fmla="*/ 0 h 711"/>
                <a:gd name="T6" fmla="*/ 0 w 994"/>
                <a:gd name="T7" fmla="*/ 636 h 711"/>
                <a:gd name="T8" fmla="*/ 405 w 994"/>
                <a:gd name="T9" fmla="*/ 636 h 711"/>
                <a:gd name="T10" fmla="*/ 405 w 994"/>
                <a:gd name="T11" fmla="*/ 677 h 711"/>
                <a:gd name="T12" fmla="*/ 193 w 994"/>
                <a:gd name="T13" fmla="*/ 677 h 711"/>
                <a:gd name="T14" fmla="*/ 193 w 994"/>
                <a:gd name="T15" fmla="*/ 711 h 711"/>
                <a:gd name="T16" fmla="*/ 788 w 994"/>
                <a:gd name="T17" fmla="*/ 711 h 711"/>
                <a:gd name="T18" fmla="*/ 788 w 994"/>
                <a:gd name="T19" fmla="*/ 677 h 711"/>
                <a:gd name="T20" fmla="*/ 580 w 994"/>
                <a:gd name="T21" fmla="*/ 677 h 711"/>
                <a:gd name="T22" fmla="*/ 580 w 994"/>
                <a:gd name="T23" fmla="*/ 636 h 711"/>
                <a:gd name="T24" fmla="*/ 994 w 994"/>
                <a:gd name="T25" fmla="*/ 636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4" h="711">
                  <a:moveTo>
                    <a:pt x="994" y="636"/>
                  </a:moveTo>
                  <a:lnTo>
                    <a:pt x="994" y="0"/>
                  </a:lnTo>
                  <a:lnTo>
                    <a:pt x="0" y="0"/>
                  </a:lnTo>
                  <a:lnTo>
                    <a:pt x="0" y="636"/>
                  </a:lnTo>
                  <a:lnTo>
                    <a:pt x="405" y="636"/>
                  </a:lnTo>
                  <a:lnTo>
                    <a:pt x="405" y="677"/>
                  </a:lnTo>
                  <a:lnTo>
                    <a:pt x="193" y="677"/>
                  </a:lnTo>
                  <a:lnTo>
                    <a:pt x="193" y="711"/>
                  </a:lnTo>
                  <a:lnTo>
                    <a:pt x="788" y="711"/>
                  </a:lnTo>
                  <a:lnTo>
                    <a:pt x="788" y="677"/>
                  </a:lnTo>
                  <a:lnTo>
                    <a:pt x="580" y="677"/>
                  </a:lnTo>
                  <a:lnTo>
                    <a:pt x="580" y="636"/>
                  </a:lnTo>
                  <a:lnTo>
                    <a:pt x="994" y="6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DA8DD95B-2942-46FD-8464-8E6F0138CD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59397" y="4085702"/>
              <a:ext cx="267456" cy="17661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/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F64708DA-2BAD-4696-84FF-89CD4D520F67}"/>
              </a:ext>
            </a:extLst>
          </p:cNvPr>
          <p:cNvGrpSpPr/>
          <p:nvPr/>
        </p:nvGrpSpPr>
        <p:grpSpPr>
          <a:xfrm>
            <a:off x="8917212" y="3371031"/>
            <a:ext cx="1397414" cy="979725"/>
            <a:chOff x="10624370" y="3154949"/>
            <a:chExt cx="775667" cy="543819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A8703201-C73A-4A04-87C7-C5F1A45B5EEE}"/>
                </a:ext>
              </a:extLst>
            </p:cNvPr>
            <p:cNvGrpSpPr/>
            <p:nvPr/>
          </p:nvGrpSpPr>
          <p:grpSpPr>
            <a:xfrm>
              <a:off x="10624370" y="3154949"/>
              <a:ext cx="229134" cy="543819"/>
              <a:chOff x="4997571" y="2935044"/>
              <a:chExt cx="2432050" cy="5772151"/>
            </a:xfrm>
            <a:solidFill>
              <a:schemeClr val="bg1"/>
            </a:solidFill>
          </p:grpSpPr>
          <p:sp>
            <p:nvSpPr>
              <p:cNvPr id="123" name="Oval 7">
                <a:extLst>
                  <a:ext uri="{FF2B5EF4-FFF2-40B4-BE49-F238E27FC236}">
                    <a16:creationId xmlns:a16="http://schemas.microsoft.com/office/drawing/2014/main" id="{C538E755-B9BA-4309-A221-0224156C4D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21471" y="2935044"/>
                <a:ext cx="958850" cy="955675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 dirty="0"/>
              </a:p>
            </p:txBody>
          </p:sp>
          <p:sp>
            <p:nvSpPr>
              <p:cNvPr id="124" name="Freeform 8">
                <a:extLst>
                  <a:ext uri="{FF2B5EF4-FFF2-40B4-BE49-F238E27FC236}">
                    <a16:creationId xmlns:a16="http://schemas.microsoft.com/office/drawing/2014/main" id="{BBF77813-DF01-4875-9238-9DBA31B518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7571" y="4095507"/>
                <a:ext cx="2432050" cy="4611688"/>
              </a:xfrm>
              <a:custGeom>
                <a:avLst/>
                <a:gdLst>
                  <a:gd name="T0" fmla="*/ 415 w 736"/>
                  <a:gd name="T1" fmla="*/ 6 h 1400"/>
                  <a:gd name="T2" fmla="*/ 277 w 736"/>
                  <a:gd name="T3" fmla="*/ 14 h 1400"/>
                  <a:gd name="T4" fmla="*/ 115 w 736"/>
                  <a:gd name="T5" fmla="*/ 108 h 1400"/>
                  <a:gd name="T6" fmla="*/ 98 w 736"/>
                  <a:gd name="T7" fmla="*/ 129 h 1400"/>
                  <a:gd name="T8" fmla="*/ 9 w 736"/>
                  <a:gd name="T9" fmla="*/ 361 h 1400"/>
                  <a:gd name="T10" fmla="*/ 6 w 736"/>
                  <a:gd name="T11" fmla="*/ 530 h 1400"/>
                  <a:gd name="T12" fmla="*/ 151 w 736"/>
                  <a:gd name="T13" fmla="*/ 530 h 1400"/>
                  <a:gd name="T14" fmla="*/ 187 w 736"/>
                  <a:gd name="T15" fmla="*/ 252 h 1400"/>
                  <a:gd name="T16" fmla="*/ 187 w 736"/>
                  <a:gd name="T17" fmla="*/ 556 h 1400"/>
                  <a:gd name="T18" fmla="*/ 188 w 736"/>
                  <a:gd name="T19" fmla="*/ 566 h 1400"/>
                  <a:gd name="T20" fmla="*/ 187 w 736"/>
                  <a:gd name="T21" fmla="*/ 571 h 1400"/>
                  <a:gd name="T22" fmla="*/ 177 w 736"/>
                  <a:gd name="T23" fmla="*/ 1293 h 1400"/>
                  <a:gd name="T24" fmla="*/ 343 w 736"/>
                  <a:gd name="T25" fmla="*/ 1293 h 1400"/>
                  <a:gd name="T26" fmla="*/ 353 w 736"/>
                  <a:gd name="T27" fmla="*/ 727 h 1400"/>
                  <a:gd name="T28" fmla="*/ 377 w 736"/>
                  <a:gd name="T29" fmla="*/ 727 h 1400"/>
                  <a:gd name="T30" fmla="*/ 387 w 736"/>
                  <a:gd name="T31" fmla="*/ 1293 h 1400"/>
                  <a:gd name="T32" fmla="*/ 553 w 736"/>
                  <a:gd name="T33" fmla="*/ 1293 h 1400"/>
                  <a:gd name="T34" fmla="*/ 543 w 736"/>
                  <a:gd name="T35" fmla="*/ 571 h 1400"/>
                  <a:gd name="T36" fmla="*/ 540 w 736"/>
                  <a:gd name="T37" fmla="*/ 550 h 1400"/>
                  <a:gd name="T38" fmla="*/ 537 w 736"/>
                  <a:gd name="T39" fmla="*/ 236 h 1400"/>
                  <a:gd name="T40" fmla="*/ 582 w 736"/>
                  <a:gd name="T41" fmla="*/ 530 h 1400"/>
                  <a:gd name="T42" fmla="*/ 728 w 736"/>
                  <a:gd name="T43" fmla="*/ 530 h 1400"/>
                  <a:gd name="T44" fmla="*/ 709 w 736"/>
                  <a:gd name="T45" fmla="*/ 286 h 1400"/>
                  <a:gd name="T46" fmla="*/ 592 w 736"/>
                  <a:gd name="T47" fmla="*/ 81 h 1400"/>
                  <a:gd name="T48" fmla="*/ 415 w 736"/>
                  <a:gd name="T49" fmla="*/ 6 h 1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36" h="1400">
                    <a:moveTo>
                      <a:pt x="415" y="6"/>
                    </a:moveTo>
                    <a:cubicBezTo>
                      <a:pt x="368" y="0"/>
                      <a:pt x="321" y="4"/>
                      <a:pt x="277" y="14"/>
                    </a:cubicBezTo>
                    <a:cubicBezTo>
                      <a:pt x="215" y="29"/>
                      <a:pt x="158" y="60"/>
                      <a:pt x="115" y="108"/>
                    </a:cubicBezTo>
                    <a:cubicBezTo>
                      <a:pt x="109" y="115"/>
                      <a:pt x="104" y="122"/>
                      <a:pt x="98" y="129"/>
                    </a:cubicBezTo>
                    <a:cubicBezTo>
                      <a:pt x="48" y="196"/>
                      <a:pt x="21" y="279"/>
                      <a:pt x="9" y="361"/>
                    </a:cubicBezTo>
                    <a:cubicBezTo>
                      <a:pt x="1" y="417"/>
                      <a:pt x="0" y="474"/>
                      <a:pt x="6" y="530"/>
                    </a:cubicBezTo>
                    <a:cubicBezTo>
                      <a:pt x="15" y="622"/>
                      <a:pt x="161" y="623"/>
                      <a:pt x="151" y="530"/>
                    </a:cubicBezTo>
                    <a:cubicBezTo>
                      <a:pt x="143" y="452"/>
                      <a:pt x="146" y="335"/>
                      <a:pt x="187" y="252"/>
                    </a:cubicBezTo>
                    <a:cubicBezTo>
                      <a:pt x="187" y="556"/>
                      <a:pt x="187" y="556"/>
                      <a:pt x="187" y="556"/>
                    </a:cubicBezTo>
                    <a:cubicBezTo>
                      <a:pt x="187" y="559"/>
                      <a:pt x="188" y="562"/>
                      <a:pt x="188" y="566"/>
                    </a:cubicBezTo>
                    <a:cubicBezTo>
                      <a:pt x="188" y="567"/>
                      <a:pt x="187" y="569"/>
                      <a:pt x="187" y="571"/>
                    </a:cubicBezTo>
                    <a:cubicBezTo>
                      <a:pt x="187" y="812"/>
                      <a:pt x="187" y="1052"/>
                      <a:pt x="177" y="1293"/>
                    </a:cubicBezTo>
                    <a:cubicBezTo>
                      <a:pt x="173" y="1400"/>
                      <a:pt x="339" y="1400"/>
                      <a:pt x="343" y="1293"/>
                    </a:cubicBezTo>
                    <a:cubicBezTo>
                      <a:pt x="351" y="1104"/>
                      <a:pt x="353" y="916"/>
                      <a:pt x="353" y="727"/>
                    </a:cubicBezTo>
                    <a:cubicBezTo>
                      <a:pt x="361" y="727"/>
                      <a:pt x="369" y="727"/>
                      <a:pt x="377" y="727"/>
                    </a:cubicBezTo>
                    <a:cubicBezTo>
                      <a:pt x="377" y="916"/>
                      <a:pt x="379" y="1105"/>
                      <a:pt x="387" y="1293"/>
                    </a:cubicBezTo>
                    <a:cubicBezTo>
                      <a:pt x="391" y="1400"/>
                      <a:pt x="557" y="1400"/>
                      <a:pt x="553" y="1293"/>
                    </a:cubicBezTo>
                    <a:cubicBezTo>
                      <a:pt x="543" y="1052"/>
                      <a:pt x="543" y="812"/>
                      <a:pt x="543" y="571"/>
                    </a:cubicBezTo>
                    <a:cubicBezTo>
                      <a:pt x="543" y="563"/>
                      <a:pt x="542" y="556"/>
                      <a:pt x="540" y="550"/>
                    </a:cubicBezTo>
                    <a:cubicBezTo>
                      <a:pt x="540" y="445"/>
                      <a:pt x="536" y="340"/>
                      <a:pt x="537" y="236"/>
                    </a:cubicBezTo>
                    <a:cubicBezTo>
                      <a:pt x="587" y="320"/>
                      <a:pt x="591" y="447"/>
                      <a:pt x="582" y="530"/>
                    </a:cubicBezTo>
                    <a:cubicBezTo>
                      <a:pt x="573" y="623"/>
                      <a:pt x="718" y="622"/>
                      <a:pt x="728" y="530"/>
                    </a:cubicBezTo>
                    <a:cubicBezTo>
                      <a:pt x="736" y="449"/>
                      <a:pt x="730" y="365"/>
                      <a:pt x="709" y="286"/>
                    </a:cubicBezTo>
                    <a:cubicBezTo>
                      <a:pt x="688" y="210"/>
                      <a:pt x="651" y="135"/>
                      <a:pt x="592" y="81"/>
                    </a:cubicBezTo>
                    <a:cubicBezTo>
                      <a:pt x="543" y="37"/>
                      <a:pt x="480" y="13"/>
                      <a:pt x="415" y="6"/>
                    </a:cubicBez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 dirty="0"/>
              </a:p>
            </p:txBody>
          </p:sp>
        </p:grpSp>
        <p:grpSp>
          <p:nvGrpSpPr>
            <p:cNvPr id="125" name="Group 124">
              <a:extLst>
                <a:ext uri="{FF2B5EF4-FFF2-40B4-BE49-F238E27FC236}">
                  <a16:creationId xmlns:a16="http://schemas.microsoft.com/office/drawing/2014/main" id="{16B30CE3-8F22-494F-97C8-BD9980CA4190}"/>
                </a:ext>
              </a:extLst>
            </p:cNvPr>
            <p:cNvGrpSpPr/>
            <p:nvPr/>
          </p:nvGrpSpPr>
          <p:grpSpPr>
            <a:xfrm>
              <a:off x="10761200" y="3154949"/>
              <a:ext cx="229134" cy="543819"/>
              <a:chOff x="4997571" y="2935044"/>
              <a:chExt cx="2432050" cy="5772151"/>
            </a:xfrm>
            <a:solidFill>
              <a:schemeClr val="bg2">
                <a:lumMod val="20000"/>
                <a:lumOff val="80000"/>
              </a:schemeClr>
            </a:solidFill>
          </p:grpSpPr>
          <p:sp>
            <p:nvSpPr>
              <p:cNvPr id="126" name="Oval 7">
                <a:extLst>
                  <a:ext uri="{FF2B5EF4-FFF2-40B4-BE49-F238E27FC236}">
                    <a16:creationId xmlns:a16="http://schemas.microsoft.com/office/drawing/2014/main" id="{B93F8650-7724-4FCB-906E-5A149A1E43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21471" y="2935044"/>
                <a:ext cx="958850" cy="955675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27" name="Freeform 8">
                <a:extLst>
                  <a:ext uri="{FF2B5EF4-FFF2-40B4-BE49-F238E27FC236}">
                    <a16:creationId xmlns:a16="http://schemas.microsoft.com/office/drawing/2014/main" id="{13DDA117-ADB2-4E5D-9A33-29BFAE56E4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7571" y="4095507"/>
                <a:ext cx="2432050" cy="4611688"/>
              </a:xfrm>
              <a:custGeom>
                <a:avLst/>
                <a:gdLst>
                  <a:gd name="T0" fmla="*/ 415 w 736"/>
                  <a:gd name="T1" fmla="*/ 6 h 1400"/>
                  <a:gd name="T2" fmla="*/ 277 w 736"/>
                  <a:gd name="T3" fmla="*/ 14 h 1400"/>
                  <a:gd name="T4" fmla="*/ 115 w 736"/>
                  <a:gd name="T5" fmla="*/ 108 h 1400"/>
                  <a:gd name="T6" fmla="*/ 98 w 736"/>
                  <a:gd name="T7" fmla="*/ 129 h 1400"/>
                  <a:gd name="T8" fmla="*/ 9 w 736"/>
                  <a:gd name="T9" fmla="*/ 361 h 1400"/>
                  <a:gd name="T10" fmla="*/ 6 w 736"/>
                  <a:gd name="T11" fmla="*/ 530 h 1400"/>
                  <a:gd name="T12" fmla="*/ 151 w 736"/>
                  <a:gd name="T13" fmla="*/ 530 h 1400"/>
                  <a:gd name="T14" fmla="*/ 187 w 736"/>
                  <a:gd name="T15" fmla="*/ 252 h 1400"/>
                  <a:gd name="T16" fmla="*/ 187 w 736"/>
                  <a:gd name="T17" fmla="*/ 556 h 1400"/>
                  <a:gd name="T18" fmla="*/ 188 w 736"/>
                  <a:gd name="T19" fmla="*/ 566 h 1400"/>
                  <a:gd name="T20" fmla="*/ 187 w 736"/>
                  <a:gd name="T21" fmla="*/ 571 h 1400"/>
                  <a:gd name="T22" fmla="*/ 177 w 736"/>
                  <a:gd name="T23" fmla="*/ 1293 h 1400"/>
                  <a:gd name="T24" fmla="*/ 343 w 736"/>
                  <a:gd name="T25" fmla="*/ 1293 h 1400"/>
                  <a:gd name="T26" fmla="*/ 353 w 736"/>
                  <a:gd name="T27" fmla="*/ 727 h 1400"/>
                  <a:gd name="T28" fmla="*/ 377 w 736"/>
                  <a:gd name="T29" fmla="*/ 727 h 1400"/>
                  <a:gd name="T30" fmla="*/ 387 w 736"/>
                  <a:gd name="T31" fmla="*/ 1293 h 1400"/>
                  <a:gd name="T32" fmla="*/ 553 w 736"/>
                  <a:gd name="T33" fmla="*/ 1293 h 1400"/>
                  <a:gd name="T34" fmla="*/ 543 w 736"/>
                  <a:gd name="T35" fmla="*/ 571 h 1400"/>
                  <a:gd name="T36" fmla="*/ 540 w 736"/>
                  <a:gd name="T37" fmla="*/ 550 h 1400"/>
                  <a:gd name="T38" fmla="*/ 537 w 736"/>
                  <a:gd name="T39" fmla="*/ 236 h 1400"/>
                  <a:gd name="T40" fmla="*/ 582 w 736"/>
                  <a:gd name="T41" fmla="*/ 530 h 1400"/>
                  <a:gd name="T42" fmla="*/ 728 w 736"/>
                  <a:gd name="T43" fmla="*/ 530 h 1400"/>
                  <a:gd name="T44" fmla="*/ 709 w 736"/>
                  <a:gd name="T45" fmla="*/ 286 h 1400"/>
                  <a:gd name="T46" fmla="*/ 592 w 736"/>
                  <a:gd name="T47" fmla="*/ 81 h 1400"/>
                  <a:gd name="T48" fmla="*/ 415 w 736"/>
                  <a:gd name="T49" fmla="*/ 6 h 1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36" h="1400">
                    <a:moveTo>
                      <a:pt x="415" y="6"/>
                    </a:moveTo>
                    <a:cubicBezTo>
                      <a:pt x="368" y="0"/>
                      <a:pt x="321" y="4"/>
                      <a:pt x="277" y="14"/>
                    </a:cubicBezTo>
                    <a:cubicBezTo>
                      <a:pt x="215" y="29"/>
                      <a:pt x="158" y="60"/>
                      <a:pt x="115" y="108"/>
                    </a:cubicBezTo>
                    <a:cubicBezTo>
                      <a:pt x="109" y="115"/>
                      <a:pt x="104" y="122"/>
                      <a:pt x="98" y="129"/>
                    </a:cubicBezTo>
                    <a:cubicBezTo>
                      <a:pt x="48" y="196"/>
                      <a:pt x="21" y="279"/>
                      <a:pt x="9" y="361"/>
                    </a:cubicBezTo>
                    <a:cubicBezTo>
                      <a:pt x="1" y="417"/>
                      <a:pt x="0" y="474"/>
                      <a:pt x="6" y="530"/>
                    </a:cubicBezTo>
                    <a:cubicBezTo>
                      <a:pt x="15" y="622"/>
                      <a:pt x="161" y="623"/>
                      <a:pt x="151" y="530"/>
                    </a:cubicBezTo>
                    <a:cubicBezTo>
                      <a:pt x="143" y="452"/>
                      <a:pt x="146" y="335"/>
                      <a:pt x="187" y="252"/>
                    </a:cubicBezTo>
                    <a:cubicBezTo>
                      <a:pt x="187" y="556"/>
                      <a:pt x="187" y="556"/>
                      <a:pt x="187" y="556"/>
                    </a:cubicBezTo>
                    <a:cubicBezTo>
                      <a:pt x="187" y="559"/>
                      <a:pt x="188" y="562"/>
                      <a:pt x="188" y="566"/>
                    </a:cubicBezTo>
                    <a:cubicBezTo>
                      <a:pt x="188" y="567"/>
                      <a:pt x="187" y="569"/>
                      <a:pt x="187" y="571"/>
                    </a:cubicBezTo>
                    <a:cubicBezTo>
                      <a:pt x="187" y="812"/>
                      <a:pt x="187" y="1052"/>
                      <a:pt x="177" y="1293"/>
                    </a:cubicBezTo>
                    <a:cubicBezTo>
                      <a:pt x="173" y="1400"/>
                      <a:pt x="339" y="1400"/>
                      <a:pt x="343" y="1293"/>
                    </a:cubicBezTo>
                    <a:cubicBezTo>
                      <a:pt x="351" y="1104"/>
                      <a:pt x="353" y="916"/>
                      <a:pt x="353" y="727"/>
                    </a:cubicBezTo>
                    <a:cubicBezTo>
                      <a:pt x="361" y="727"/>
                      <a:pt x="369" y="727"/>
                      <a:pt x="377" y="727"/>
                    </a:cubicBezTo>
                    <a:cubicBezTo>
                      <a:pt x="377" y="916"/>
                      <a:pt x="379" y="1105"/>
                      <a:pt x="387" y="1293"/>
                    </a:cubicBezTo>
                    <a:cubicBezTo>
                      <a:pt x="391" y="1400"/>
                      <a:pt x="557" y="1400"/>
                      <a:pt x="553" y="1293"/>
                    </a:cubicBezTo>
                    <a:cubicBezTo>
                      <a:pt x="543" y="1052"/>
                      <a:pt x="543" y="812"/>
                      <a:pt x="543" y="571"/>
                    </a:cubicBezTo>
                    <a:cubicBezTo>
                      <a:pt x="543" y="563"/>
                      <a:pt x="542" y="556"/>
                      <a:pt x="540" y="550"/>
                    </a:cubicBezTo>
                    <a:cubicBezTo>
                      <a:pt x="540" y="445"/>
                      <a:pt x="536" y="340"/>
                      <a:pt x="537" y="236"/>
                    </a:cubicBezTo>
                    <a:cubicBezTo>
                      <a:pt x="587" y="320"/>
                      <a:pt x="591" y="447"/>
                      <a:pt x="582" y="530"/>
                    </a:cubicBezTo>
                    <a:cubicBezTo>
                      <a:pt x="573" y="623"/>
                      <a:pt x="718" y="622"/>
                      <a:pt x="728" y="530"/>
                    </a:cubicBezTo>
                    <a:cubicBezTo>
                      <a:pt x="736" y="449"/>
                      <a:pt x="730" y="365"/>
                      <a:pt x="709" y="286"/>
                    </a:cubicBezTo>
                    <a:cubicBezTo>
                      <a:pt x="688" y="210"/>
                      <a:pt x="651" y="135"/>
                      <a:pt x="592" y="81"/>
                    </a:cubicBezTo>
                    <a:cubicBezTo>
                      <a:pt x="543" y="37"/>
                      <a:pt x="480" y="13"/>
                      <a:pt x="415" y="6"/>
                    </a:cubicBez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537D7B8A-9790-491F-8DCA-D3E381B1C510}"/>
                </a:ext>
              </a:extLst>
            </p:cNvPr>
            <p:cNvGrpSpPr/>
            <p:nvPr/>
          </p:nvGrpSpPr>
          <p:grpSpPr>
            <a:xfrm>
              <a:off x="10901962" y="3154949"/>
              <a:ext cx="229134" cy="543819"/>
              <a:chOff x="4997571" y="2935044"/>
              <a:chExt cx="2432050" cy="5772151"/>
            </a:xfrm>
            <a:solidFill>
              <a:schemeClr val="bg2">
                <a:lumMod val="40000"/>
                <a:lumOff val="60000"/>
              </a:schemeClr>
            </a:solidFill>
          </p:grpSpPr>
          <p:sp>
            <p:nvSpPr>
              <p:cNvPr id="129" name="Oval 7">
                <a:extLst>
                  <a:ext uri="{FF2B5EF4-FFF2-40B4-BE49-F238E27FC236}">
                    <a16:creationId xmlns:a16="http://schemas.microsoft.com/office/drawing/2014/main" id="{A2F5111C-9294-4AC2-8C40-C2B05E817A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21471" y="2935044"/>
                <a:ext cx="958850" cy="955675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30" name="Freeform 8">
                <a:extLst>
                  <a:ext uri="{FF2B5EF4-FFF2-40B4-BE49-F238E27FC236}">
                    <a16:creationId xmlns:a16="http://schemas.microsoft.com/office/drawing/2014/main" id="{721E41F5-4659-42AD-AD1A-9660DF15C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7571" y="4095507"/>
                <a:ext cx="2432050" cy="4611688"/>
              </a:xfrm>
              <a:custGeom>
                <a:avLst/>
                <a:gdLst>
                  <a:gd name="T0" fmla="*/ 415 w 736"/>
                  <a:gd name="T1" fmla="*/ 6 h 1400"/>
                  <a:gd name="T2" fmla="*/ 277 w 736"/>
                  <a:gd name="T3" fmla="*/ 14 h 1400"/>
                  <a:gd name="T4" fmla="*/ 115 w 736"/>
                  <a:gd name="T5" fmla="*/ 108 h 1400"/>
                  <a:gd name="T6" fmla="*/ 98 w 736"/>
                  <a:gd name="T7" fmla="*/ 129 h 1400"/>
                  <a:gd name="T8" fmla="*/ 9 w 736"/>
                  <a:gd name="T9" fmla="*/ 361 h 1400"/>
                  <a:gd name="T10" fmla="*/ 6 w 736"/>
                  <a:gd name="T11" fmla="*/ 530 h 1400"/>
                  <a:gd name="T12" fmla="*/ 151 w 736"/>
                  <a:gd name="T13" fmla="*/ 530 h 1400"/>
                  <a:gd name="T14" fmla="*/ 187 w 736"/>
                  <a:gd name="T15" fmla="*/ 252 h 1400"/>
                  <a:gd name="T16" fmla="*/ 187 w 736"/>
                  <a:gd name="T17" fmla="*/ 556 h 1400"/>
                  <a:gd name="T18" fmla="*/ 188 w 736"/>
                  <a:gd name="T19" fmla="*/ 566 h 1400"/>
                  <a:gd name="T20" fmla="*/ 187 w 736"/>
                  <a:gd name="T21" fmla="*/ 571 h 1400"/>
                  <a:gd name="T22" fmla="*/ 177 w 736"/>
                  <a:gd name="T23" fmla="*/ 1293 h 1400"/>
                  <a:gd name="T24" fmla="*/ 343 w 736"/>
                  <a:gd name="T25" fmla="*/ 1293 h 1400"/>
                  <a:gd name="T26" fmla="*/ 353 w 736"/>
                  <a:gd name="T27" fmla="*/ 727 h 1400"/>
                  <a:gd name="T28" fmla="*/ 377 w 736"/>
                  <a:gd name="T29" fmla="*/ 727 h 1400"/>
                  <a:gd name="T30" fmla="*/ 387 w 736"/>
                  <a:gd name="T31" fmla="*/ 1293 h 1400"/>
                  <a:gd name="T32" fmla="*/ 553 w 736"/>
                  <a:gd name="T33" fmla="*/ 1293 h 1400"/>
                  <a:gd name="T34" fmla="*/ 543 w 736"/>
                  <a:gd name="T35" fmla="*/ 571 h 1400"/>
                  <a:gd name="T36" fmla="*/ 540 w 736"/>
                  <a:gd name="T37" fmla="*/ 550 h 1400"/>
                  <a:gd name="T38" fmla="*/ 537 w 736"/>
                  <a:gd name="T39" fmla="*/ 236 h 1400"/>
                  <a:gd name="T40" fmla="*/ 582 w 736"/>
                  <a:gd name="T41" fmla="*/ 530 h 1400"/>
                  <a:gd name="T42" fmla="*/ 728 w 736"/>
                  <a:gd name="T43" fmla="*/ 530 h 1400"/>
                  <a:gd name="T44" fmla="*/ 709 w 736"/>
                  <a:gd name="T45" fmla="*/ 286 h 1400"/>
                  <a:gd name="T46" fmla="*/ 592 w 736"/>
                  <a:gd name="T47" fmla="*/ 81 h 1400"/>
                  <a:gd name="T48" fmla="*/ 415 w 736"/>
                  <a:gd name="T49" fmla="*/ 6 h 1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36" h="1400">
                    <a:moveTo>
                      <a:pt x="415" y="6"/>
                    </a:moveTo>
                    <a:cubicBezTo>
                      <a:pt x="368" y="0"/>
                      <a:pt x="321" y="4"/>
                      <a:pt x="277" y="14"/>
                    </a:cubicBezTo>
                    <a:cubicBezTo>
                      <a:pt x="215" y="29"/>
                      <a:pt x="158" y="60"/>
                      <a:pt x="115" y="108"/>
                    </a:cubicBezTo>
                    <a:cubicBezTo>
                      <a:pt x="109" y="115"/>
                      <a:pt x="104" y="122"/>
                      <a:pt x="98" y="129"/>
                    </a:cubicBezTo>
                    <a:cubicBezTo>
                      <a:pt x="48" y="196"/>
                      <a:pt x="21" y="279"/>
                      <a:pt x="9" y="361"/>
                    </a:cubicBezTo>
                    <a:cubicBezTo>
                      <a:pt x="1" y="417"/>
                      <a:pt x="0" y="474"/>
                      <a:pt x="6" y="530"/>
                    </a:cubicBezTo>
                    <a:cubicBezTo>
                      <a:pt x="15" y="622"/>
                      <a:pt x="161" y="623"/>
                      <a:pt x="151" y="530"/>
                    </a:cubicBezTo>
                    <a:cubicBezTo>
                      <a:pt x="143" y="452"/>
                      <a:pt x="146" y="335"/>
                      <a:pt x="187" y="252"/>
                    </a:cubicBezTo>
                    <a:cubicBezTo>
                      <a:pt x="187" y="556"/>
                      <a:pt x="187" y="556"/>
                      <a:pt x="187" y="556"/>
                    </a:cubicBezTo>
                    <a:cubicBezTo>
                      <a:pt x="187" y="559"/>
                      <a:pt x="188" y="562"/>
                      <a:pt x="188" y="566"/>
                    </a:cubicBezTo>
                    <a:cubicBezTo>
                      <a:pt x="188" y="567"/>
                      <a:pt x="187" y="569"/>
                      <a:pt x="187" y="571"/>
                    </a:cubicBezTo>
                    <a:cubicBezTo>
                      <a:pt x="187" y="812"/>
                      <a:pt x="187" y="1052"/>
                      <a:pt x="177" y="1293"/>
                    </a:cubicBezTo>
                    <a:cubicBezTo>
                      <a:pt x="173" y="1400"/>
                      <a:pt x="339" y="1400"/>
                      <a:pt x="343" y="1293"/>
                    </a:cubicBezTo>
                    <a:cubicBezTo>
                      <a:pt x="351" y="1104"/>
                      <a:pt x="353" y="916"/>
                      <a:pt x="353" y="727"/>
                    </a:cubicBezTo>
                    <a:cubicBezTo>
                      <a:pt x="361" y="727"/>
                      <a:pt x="369" y="727"/>
                      <a:pt x="377" y="727"/>
                    </a:cubicBezTo>
                    <a:cubicBezTo>
                      <a:pt x="377" y="916"/>
                      <a:pt x="379" y="1105"/>
                      <a:pt x="387" y="1293"/>
                    </a:cubicBezTo>
                    <a:cubicBezTo>
                      <a:pt x="391" y="1400"/>
                      <a:pt x="557" y="1400"/>
                      <a:pt x="553" y="1293"/>
                    </a:cubicBezTo>
                    <a:cubicBezTo>
                      <a:pt x="543" y="1052"/>
                      <a:pt x="543" y="812"/>
                      <a:pt x="543" y="571"/>
                    </a:cubicBezTo>
                    <a:cubicBezTo>
                      <a:pt x="543" y="563"/>
                      <a:pt x="542" y="556"/>
                      <a:pt x="540" y="550"/>
                    </a:cubicBezTo>
                    <a:cubicBezTo>
                      <a:pt x="540" y="445"/>
                      <a:pt x="536" y="340"/>
                      <a:pt x="537" y="236"/>
                    </a:cubicBezTo>
                    <a:cubicBezTo>
                      <a:pt x="587" y="320"/>
                      <a:pt x="591" y="447"/>
                      <a:pt x="582" y="530"/>
                    </a:cubicBezTo>
                    <a:cubicBezTo>
                      <a:pt x="573" y="623"/>
                      <a:pt x="718" y="622"/>
                      <a:pt x="728" y="530"/>
                    </a:cubicBezTo>
                    <a:cubicBezTo>
                      <a:pt x="736" y="449"/>
                      <a:pt x="730" y="365"/>
                      <a:pt x="709" y="286"/>
                    </a:cubicBezTo>
                    <a:cubicBezTo>
                      <a:pt x="688" y="210"/>
                      <a:pt x="651" y="135"/>
                      <a:pt x="592" y="81"/>
                    </a:cubicBezTo>
                    <a:cubicBezTo>
                      <a:pt x="543" y="37"/>
                      <a:pt x="480" y="13"/>
                      <a:pt x="415" y="6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7B0A8D38-A972-4205-8AE2-DBE2BFAD295C}"/>
                </a:ext>
              </a:extLst>
            </p:cNvPr>
            <p:cNvGrpSpPr/>
            <p:nvPr/>
          </p:nvGrpSpPr>
          <p:grpSpPr>
            <a:xfrm>
              <a:off x="11037613" y="3154949"/>
              <a:ext cx="229134" cy="543819"/>
              <a:chOff x="4997571" y="2935044"/>
              <a:chExt cx="2432050" cy="5772151"/>
            </a:xfrm>
            <a:solidFill>
              <a:schemeClr val="bg2">
                <a:lumMod val="60000"/>
                <a:lumOff val="40000"/>
              </a:schemeClr>
            </a:solidFill>
          </p:grpSpPr>
          <p:sp>
            <p:nvSpPr>
              <p:cNvPr id="132" name="Oval 7">
                <a:extLst>
                  <a:ext uri="{FF2B5EF4-FFF2-40B4-BE49-F238E27FC236}">
                    <a16:creationId xmlns:a16="http://schemas.microsoft.com/office/drawing/2014/main" id="{30F03775-3573-434A-ADE7-D9886E36D0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21471" y="2935044"/>
                <a:ext cx="958850" cy="955675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33" name="Freeform 8">
                <a:extLst>
                  <a:ext uri="{FF2B5EF4-FFF2-40B4-BE49-F238E27FC236}">
                    <a16:creationId xmlns:a16="http://schemas.microsoft.com/office/drawing/2014/main" id="{8157A27B-04E7-4D4E-85F0-5F80D63168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7571" y="4095507"/>
                <a:ext cx="2432050" cy="4611688"/>
              </a:xfrm>
              <a:custGeom>
                <a:avLst/>
                <a:gdLst>
                  <a:gd name="T0" fmla="*/ 415 w 736"/>
                  <a:gd name="T1" fmla="*/ 6 h 1400"/>
                  <a:gd name="T2" fmla="*/ 277 w 736"/>
                  <a:gd name="T3" fmla="*/ 14 h 1400"/>
                  <a:gd name="T4" fmla="*/ 115 w 736"/>
                  <a:gd name="T5" fmla="*/ 108 h 1400"/>
                  <a:gd name="T6" fmla="*/ 98 w 736"/>
                  <a:gd name="T7" fmla="*/ 129 h 1400"/>
                  <a:gd name="T8" fmla="*/ 9 w 736"/>
                  <a:gd name="T9" fmla="*/ 361 h 1400"/>
                  <a:gd name="T10" fmla="*/ 6 w 736"/>
                  <a:gd name="T11" fmla="*/ 530 h 1400"/>
                  <a:gd name="T12" fmla="*/ 151 w 736"/>
                  <a:gd name="T13" fmla="*/ 530 h 1400"/>
                  <a:gd name="T14" fmla="*/ 187 w 736"/>
                  <a:gd name="T15" fmla="*/ 252 h 1400"/>
                  <a:gd name="T16" fmla="*/ 187 w 736"/>
                  <a:gd name="T17" fmla="*/ 556 h 1400"/>
                  <a:gd name="T18" fmla="*/ 188 w 736"/>
                  <a:gd name="T19" fmla="*/ 566 h 1400"/>
                  <a:gd name="T20" fmla="*/ 187 w 736"/>
                  <a:gd name="T21" fmla="*/ 571 h 1400"/>
                  <a:gd name="T22" fmla="*/ 177 w 736"/>
                  <a:gd name="T23" fmla="*/ 1293 h 1400"/>
                  <a:gd name="T24" fmla="*/ 343 w 736"/>
                  <a:gd name="T25" fmla="*/ 1293 h 1400"/>
                  <a:gd name="T26" fmla="*/ 353 w 736"/>
                  <a:gd name="T27" fmla="*/ 727 h 1400"/>
                  <a:gd name="T28" fmla="*/ 377 w 736"/>
                  <a:gd name="T29" fmla="*/ 727 h 1400"/>
                  <a:gd name="T30" fmla="*/ 387 w 736"/>
                  <a:gd name="T31" fmla="*/ 1293 h 1400"/>
                  <a:gd name="T32" fmla="*/ 553 w 736"/>
                  <a:gd name="T33" fmla="*/ 1293 h 1400"/>
                  <a:gd name="T34" fmla="*/ 543 w 736"/>
                  <a:gd name="T35" fmla="*/ 571 h 1400"/>
                  <a:gd name="T36" fmla="*/ 540 w 736"/>
                  <a:gd name="T37" fmla="*/ 550 h 1400"/>
                  <a:gd name="T38" fmla="*/ 537 w 736"/>
                  <a:gd name="T39" fmla="*/ 236 h 1400"/>
                  <a:gd name="T40" fmla="*/ 582 w 736"/>
                  <a:gd name="T41" fmla="*/ 530 h 1400"/>
                  <a:gd name="T42" fmla="*/ 728 w 736"/>
                  <a:gd name="T43" fmla="*/ 530 h 1400"/>
                  <a:gd name="T44" fmla="*/ 709 w 736"/>
                  <a:gd name="T45" fmla="*/ 286 h 1400"/>
                  <a:gd name="T46" fmla="*/ 592 w 736"/>
                  <a:gd name="T47" fmla="*/ 81 h 1400"/>
                  <a:gd name="T48" fmla="*/ 415 w 736"/>
                  <a:gd name="T49" fmla="*/ 6 h 1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36" h="1400">
                    <a:moveTo>
                      <a:pt x="415" y="6"/>
                    </a:moveTo>
                    <a:cubicBezTo>
                      <a:pt x="368" y="0"/>
                      <a:pt x="321" y="4"/>
                      <a:pt x="277" y="14"/>
                    </a:cubicBezTo>
                    <a:cubicBezTo>
                      <a:pt x="215" y="29"/>
                      <a:pt x="158" y="60"/>
                      <a:pt x="115" y="108"/>
                    </a:cubicBezTo>
                    <a:cubicBezTo>
                      <a:pt x="109" y="115"/>
                      <a:pt x="104" y="122"/>
                      <a:pt x="98" y="129"/>
                    </a:cubicBezTo>
                    <a:cubicBezTo>
                      <a:pt x="48" y="196"/>
                      <a:pt x="21" y="279"/>
                      <a:pt x="9" y="361"/>
                    </a:cubicBezTo>
                    <a:cubicBezTo>
                      <a:pt x="1" y="417"/>
                      <a:pt x="0" y="474"/>
                      <a:pt x="6" y="530"/>
                    </a:cubicBezTo>
                    <a:cubicBezTo>
                      <a:pt x="15" y="622"/>
                      <a:pt x="161" y="623"/>
                      <a:pt x="151" y="530"/>
                    </a:cubicBezTo>
                    <a:cubicBezTo>
                      <a:pt x="143" y="452"/>
                      <a:pt x="146" y="335"/>
                      <a:pt x="187" y="252"/>
                    </a:cubicBezTo>
                    <a:cubicBezTo>
                      <a:pt x="187" y="556"/>
                      <a:pt x="187" y="556"/>
                      <a:pt x="187" y="556"/>
                    </a:cubicBezTo>
                    <a:cubicBezTo>
                      <a:pt x="187" y="559"/>
                      <a:pt x="188" y="562"/>
                      <a:pt x="188" y="566"/>
                    </a:cubicBezTo>
                    <a:cubicBezTo>
                      <a:pt x="188" y="567"/>
                      <a:pt x="187" y="569"/>
                      <a:pt x="187" y="571"/>
                    </a:cubicBezTo>
                    <a:cubicBezTo>
                      <a:pt x="187" y="812"/>
                      <a:pt x="187" y="1052"/>
                      <a:pt x="177" y="1293"/>
                    </a:cubicBezTo>
                    <a:cubicBezTo>
                      <a:pt x="173" y="1400"/>
                      <a:pt x="339" y="1400"/>
                      <a:pt x="343" y="1293"/>
                    </a:cubicBezTo>
                    <a:cubicBezTo>
                      <a:pt x="351" y="1104"/>
                      <a:pt x="353" y="916"/>
                      <a:pt x="353" y="727"/>
                    </a:cubicBezTo>
                    <a:cubicBezTo>
                      <a:pt x="361" y="727"/>
                      <a:pt x="369" y="727"/>
                      <a:pt x="377" y="727"/>
                    </a:cubicBezTo>
                    <a:cubicBezTo>
                      <a:pt x="377" y="916"/>
                      <a:pt x="379" y="1105"/>
                      <a:pt x="387" y="1293"/>
                    </a:cubicBezTo>
                    <a:cubicBezTo>
                      <a:pt x="391" y="1400"/>
                      <a:pt x="557" y="1400"/>
                      <a:pt x="553" y="1293"/>
                    </a:cubicBezTo>
                    <a:cubicBezTo>
                      <a:pt x="543" y="1052"/>
                      <a:pt x="543" y="812"/>
                      <a:pt x="543" y="571"/>
                    </a:cubicBezTo>
                    <a:cubicBezTo>
                      <a:pt x="543" y="563"/>
                      <a:pt x="542" y="556"/>
                      <a:pt x="540" y="550"/>
                    </a:cubicBezTo>
                    <a:cubicBezTo>
                      <a:pt x="540" y="445"/>
                      <a:pt x="536" y="340"/>
                      <a:pt x="537" y="236"/>
                    </a:cubicBezTo>
                    <a:cubicBezTo>
                      <a:pt x="587" y="320"/>
                      <a:pt x="591" y="447"/>
                      <a:pt x="582" y="530"/>
                    </a:cubicBezTo>
                    <a:cubicBezTo>
                      <a:pt x="573" y="623"/>
                      <a:pt x="718" y="622"/>
                      <a:pt x="728" y="530"/>
                    </a:cubicBezTo>
                    <a:cubicBezTo>
                      <a:pt x="736" y="449"/>
                      <a:pt x="730" y="365"/>
                      <a:pt x="709" y="286"/>
                    </a:cubicBezTo>
                    <a:cubicBezTo>
                      <a:pt x="688" y="210"/>
                      <a:pt x="651" y="135"/>
                      <a:pt x="592" y="81"/>
                    </a:cubicBezTo>
                    <a:cubicBezTo>
                      <a:pt x="543" y="37"/>
                      <a:pt x="480" y="13"/>
                      <a:pt x="415" y="6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A6E88324-5913-4FE0-AB4F-E1EFE1E85839}"/>
                </a:ext>
              </a:extLst>
            </p:cNvPr>
            <p:cNvGrpSpPr/>
            <p:nvPr/>
          </p:nvGrpSpPr>
          <p:grpSpPr>
            <a:xfrm>
              <a:off x="11170903" y="3154949"/>
              <a:ext cx="229134" cy="543819"/>
              <a:chOff x="4997571" y="2935044"/>
              <a:chExt cx="2432050" cy="5772151"/>
            </a:xfrm>
            <a:solidFill>
              <a:schemeClr val="bg2"/>
            </a:solidFill>
          </p:grpSpPr>
          <p:sp>
            <p:nvSpPr>
              <p:cNvPr id="135" name="Oval 7">
                <a:extLst>
                  <a:ext uri="{FF2B5EF4-FFF2-40B4-BE49-F238E27FC236}">
                    <a16:creationId xmlns:a16="http://schemas.microsoft.com/office/drawing/2014/main" id="{574D3EA4-A38B-4862-9F1B-48C2C1C33F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21471" y="2935044"/>
                <a:ext cx="958850" cy="9556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  <p:sp>
            <p:nvSpPr>
              <p:cNvPr id="136" name="Freeform 8">
                <a:extLst>
                  <a:ext uri="{FF2B5EF4-FFF2-40B4-BE49-F238E27FC236}">
                    <a16:creationId xmlns:a16="http://schemas.microsoft.com/office/drawing/2014/main" id="{BFD7E23E-92CA-458A-A3B1-3CD0D1830C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7571" y="4095507"/>
                <a:ext cx="2432050" cy="4611688"/>
              </a:xfrm>
              <a:custGeom>
                <a:avLst/>
                <a:gdLst>
                  <a:gd name="T0" fmla="*/ 415 w 736"/>
                  <a:gd name="T1" fmla="*/ 6 h 1400"/>
                  <a:gd name="T2" fmla="*/ 277 w 736"/>
                  <a:gd name="T3" fmla="*/ 14 h 1400"/>
                  <a:gd name="T4" fmla="*/ 115 w 736"/>
                  <a:gd name="T5" fmla="*/ 108 h 1400"/>
                  <a:gd name="T6" fmla="*/ 98 w 736"/>
                  <a:gd name="T7" fmla="*/ 129 h 1400"/>
                  <a:gd name="T8" fmla="*/ 9 w 736"/>
                  <a:gd name="T9" fmla="*/ 361 h 1400"/>
                  <a:gd name="T10" fmla="*/ 6 w 736"/>
                  <a:gd name="T11" fmla="*/ 530 h 1400"/>
                  <a:gd name="T12" fmla="*/ 151 w 736"/>
                  <a:gd name="T13" fmla="*/ 530 h 1400"/>
                  <a:gd name="T14" fmla="*/ 187 w 736"/>
                  <a:gd name="T15" fmla="*/ 252 h 1400"/>
                  <a:gd name="T16" fmla="*/ 187 w 736"/>
                  <a:gd name="T17" fmla="*/ 556 h 1400"/>
                  <a:gd name="T18" fmla="*/ 188 w 736"/>
                  <a:gd name="T19" fmla="*/ 566 h 1400"/>
                  <a:gd name="T20" fmla="*/ 187 w 736"/>
                  <a:gd name="T21" fmla="*/ 571 h 1400"/>
                  <a:gd name="T22" fmla="*/ 177 w 736"/>
                  <a:gd name="T23" fmla="*/ 1293 h 1400"/>
                  <a:gd name="T24" fmla="*/ 343 w 736"/>
                  <a:gd name="T25" fmla="*/ 1293 h 1400"/>
                  <a:gd name="T26" fmla="*/ 353 w 736"/>
                  <a:gd name="T27" fmla="*/ 727 h 1400"/>
                  <a:gd name="T28" fmla="*/ 377 w 736"/>
                  <a:gd name="T29" fmla="*/ 727 h 1400"/>
                  <a:gd name="T30" fmla="*/ 387 w 736"/>
                  <a:gd name="T31" fmla="*/ 1293 h 1400"/>
                  <a:gd name="T32" fmla="*/ 553 w 736"/>
                  <a:gd name="T33" fmla="*/ 1293 h 1400"/>
                  <a:gd name="T34" fmla="*/ 543 w 736"/>
                  <a:gd name="T35" fmla="*/ 571 h 1400"/>
                  <a:gd name="T36" fmla="*/ 540 w 736"/>
                  <a:gd name="T37" fmla="*/ 550 h 1400"/>
                  <a:gd name="T38" fmla="*/ 537 w 736"/>
                  <a:gd name="T39" fmla="*/ 236 h 1400"/>
                  <a:gd name="T40" fmla="*/ 582 w 736"/>
                  <a:gd name="T41" fmla="*/ 530 h 1400"/>
                  <a:gd name="T42" fmla="*/ 728 w 736"/>
                  <a:gd name="T43" fmla="*/ 530 h 1400"/>
                  <a:gd name="T44" fmla="*/ 709 w 736"/>
                  <a:gd name="T45" fmla="*/ 286 h 1400"/>
                  <a:gd name="T46" fmla="*/ 592 w 736"/>
                  <a:gd name="T47" fmla="*/ 81 h 1400"/>
                  <a:gd name="T48" fmla="*/ 415 w 736"/>
                  <a:gd name="T49" fmla="*/ 6 h 1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36" h="1400">
                    <a:moveTo>
                      <a:pt x="415" y="6"/>
                    </a:moveTo>
                    <a:cubicBezTo>
                      <a:pt x="368" y="0"/>
                      <a:pt x="321" y="4"/>
                      <a:pt x="277" y="14"/>
                    </a:cubicBezTo>
                    <a:cubicBezTo>
                      <a:pt x="215" y="29"/>
                      <a:pt x="158" y="60"/>
                      <a:pt x="115" y="108"/>
                    </a:cubicBezTo>
                    <a:cubicBezTo>
                      <a:pt x="109" y="115"/>
                      <a:pt x="104" y="122"/>
                      <a:pt x="98" y="129"/>
                    </a:cubicBezTo>
                    <a:cubicBezTo>
                      <a:pt x="48" y="196"/>
                      <a:pt x="21" y="279"/>
                      <a:pt x="9" y="361"/>
                    </a:cubicBezTo>
                    <a:cubicBezTo>
                      <a:pt x="1" y="417"/>
                      <a:pt x="0" y="474"/>
                      <a:pt x="6" y="530"/>
                    </a:cubicBezTo>
                    <a:cubicBezTo>
                      <a:pt x="15" y="622"/>
                      <a:pt x="161" y="623"/>
                      <a:pt x="151" y="530"/>
                    </a:cubicBezTo>
                    <a:cubicBezTo>
                      <a:pt x="143" y="452"/>
                      <a:pt x="146" y="335"/>
                      <a:pt x="187" y="252"/>
                    </a:cubicBezTo>
                    <a:cubicBezTo>
                      <a:pt x="187" y="556"/>
                      <a:pt x="187" y="556"/>
                      <a:pt x="187" y="556"/>
                    </a:cubicBezTo>
                    <a:cubicBezTo>
                      <a:pt x="187" y="559"/>
                      <a:pt x="188" y="562"/>
                      <a:pt x="188" y="566"/>
                    </a:cubicBezTo>
                    <a:cubicBezTo>
                      <a:pt x="188" y="567"/>
                      <a:pt x="187" y="569"/>
                      <a:pt x="187" y="571"/>
                    </a:cubicBezTo>
                    <a:cubicBezTo>
                      <a:pt x="187" y="812"/>
                      <a:pt x="187" y="1052"/>
                      <a:pt x="177" y="1293"/>
                    </a:cubicBezTo>
                    <a:cubicBezTo>
                      <a:pt x="173" y="1400"/>
                      <a:pt x="339" y="1400"/>
                      <a:pt x="343" y="1293"/>
                    </a:cubicBezTo>
                    <a:cubicBezTo>
                      <a:pt x="351" y="1104"/>
                      <a:pt x="353" y="916"/>
                      <a:pt x="353" y="727"/>
                    </a:cubicBezTo>
                    <a:cubicBezTo>
                      <a:pt x="361" y="727"/>
                      <a:pt x="369" y="727"/>
                      <a:pt x="377" y="727"/>
                    </a:cubicBezTo>
                    <a:cubicBezTo>
                      <a:pt x="377" y="916"/>
                      <a:pt x="379" y="1105"/>
                      <a:pt x="387" y="1293"/>
                    </a:cubicBezTo>
                    <a:cubicBezTo>
                      <a:pt x="391" y="1400"/>
                      <a:pt x="557" y="1400"/>
                      <a:pt x="553" y="1293"/>
                    </a:cubicBezTo>
                    <a:cubicBezTo>
                      <a:pt x="543" y="1052"/>
                      <a:pt x="543" y="812"/>
                      <a:pt x="543" y="571"/>
                    </a:cubicBezTo>
                    <a:cubicBezTo>
                      <a:pt x="543" y="563"/>
                      <a:pt x="542" y="556"/>
                      <a:pt x="540" y="550"/>
                    </a:cubicBezTo>
                    <a:cubicBezTo>
                      <a:pt x="540" y="445"/>
                      <a:pt x="536" y="340"/>
                      <a:pt x="537" y="236"/>
                    </a:cubicBezTo>
                    <a:cubicBezTo>
                      <a:pt x="587" y="320"/>
                      <a:pt x="591" y="447"/>
                      <a:pt x="582" y="530"/>
                    </a:cubicBezTo>
                    <a:cubicBezTo>
                      <a:pt x="573" y="623"/>
                      <a:pt x="718" y="622"/>
                      <a:pt x="728" y="530"/>
                    </a:cubicBezTo>
                    <a:cubicBezTo>
                      <a:pt x="736" y="449"/>
                      <a:pt x="730" y="365"/>
                      <a:pt x="709" y="286"/>
                    </a:cubicBezTo>
                    <a:cubicBezTo>
                      <a:pt x="688" y="210"/>
                      <a:pt x="651" y="135"/>
                      <a:pt x="592" y="81"/>
                    </a:cubicBezTo>
                    <a:cubicBezTo>
                      <a:pt x="543" y="37"/>
                      <a:pt x="480" y="13"/>
                      <a:pt x="415" y="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800"/>
              </a:p>
            </p:txBody>
          </p:sp>
        </p:grpSp>
      </p:grp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4359CF11-42C0-4E7A-880A-F603B6A17EC1}"/>
              </a:ext>
            </a:extLst>
          </p:cNvPr>
          <p:cNvSpPr/>
          <p:nvPr/>
        </p:nvSpPr>
        <p:spPr>
          <a:xfrm>
            <a:off x="8941841" y="4424437"/>
            <a:ext cx="1380919" cy="924680"/>
          </a:xfrm>
          <a:custGeom>
            <a:avLst/>
            <a:gdLst>
              <a:gd name="connsiteX0" fmla="*/ 147638 w 1452563"/>
              <a:gd name="connsiteY0" fmla="*/ 0 h 1042988"/>
              <a:gd name="connsiteX1" fmla="*/ 1085850 w 1452563"/>
              <a:gd name="connsiteY1" fmla="*/ 0 h 1042988"/>
              <a:gd name="connsiteX2" fmla="*/ 1452563 w 1452563"/>
              <a:gd name="connsiteY2" fmla="*/ 1042988 h 1042988"/>
              <a:gd name="connsiteX3" fmla="*/ 0 w 1452563"/>
              <a:gd name="connsiteY3" fmla="*/ 1042988 h 1042988"/>
              <a:gd name="connsiteX4" fmla="*/ 147638 w 1452563"/>
              <a:gd name="connsiteY4" fmla="*/ 0 h 1042988"/>
              <a:gd name="connsiteX0" fmla="*/ 209551 w 1514476"/>
              <a:gd name="connsiteY0" fmla="*/ 0 h 1062038"/>
              <a:gd name="connsiteX1" fmla="*/ 1147763 w 1514476"/>
              <a:gd name="connsiteY1" fmla="*/ 0 h 1062038"/>
              <a:gd name="connsiteX2" fmla="*/ 1514476 w 1514476"/>
              <a:gd name="connsiteY2" fmla="*/ 1042988 h 1062038"/>
              <a:gd name="connsiteX3" fmla="*/ 0 w 1514476"/>
              <a:gd name="connsiteY3" fmla="*/ 1062038 h 1062038"/>
              <a:gd name="connsiteX4" fmla="*/ 209551 w 1514476"/>
              <a:gd name="connsiteY4" fmla="*/ 0 h 1062038"/>
              <a:gd name="connsiteX0" fmla="*/ 223838 w 1528763"/>
              <a:gd name="connsiteY0" fmla="*/ 0 h 1066801"/>
              <a:gd name="connsiteX1" fmla="*/ 1162050 w 1528763"/>
              <a:gd name="connsiteY1" fmla="*/ 0 h 1066801"/>
              <a:gd name="connsiteX2" fmla="*/ 1528763 w 1528763"/>
              <a:gd name="connsiteY2" fmla="*/ 1042988 h 1066801"/>
              <a:gd name="connsiteX3" fmla="*/ 0 w 1528763"/>
              <a:gd name="connsiteY3" fmla="*/ 1066801 h 1066801"/>
              <a:gd name="connsiteX4" fmla="*/ 223838 w 1528763"/>
              <a:gd name="connsiteY4" fmla="*/ 0 h 1066801"/>
              <a:gd name="connsiteX0" fmla="*/ 223838 w 1538288"/>
              <a:gd name="connsiteY0" fmla="*/ 0 h 1073944"/>
              <a:gd name="connsiteX1" fmla="*/ 1162050 w 1538288"/>
              <a:gd name="connsiteY1" fmla="*/ 0 h 1073944"/>
              <a:gd name="connsiteX2" fmla="*/ 1538288 w 1538288"/>
              <a:gd name="connsiteY2" fmla="*/ 1073944 h 1073944"/>
              <a:gd name="connsiteX3" fmla="*/ 0 w 1538288"/>
              <a:gd name="connsiteY3" fmla="*/ 1066801 h 1073944"/>
              <a:gd name="connsiteX4" fmla="*/ 223838 w 1538288"/>
              <a:gd name="connsiteY4" fmla="*/ 0 h 1073944"/>
              <a:gd name="connsiteX0" fmla="*/ 223838 w 1538288"/>
              <a:gd name="connsiteY0" fmla="*/ 2382 h 1076326"/>
              <a:gd name="connsiteX1" fmla="*/ 1040607 w 1538288"/>
              <a:gd name="connsiteY1" fmla="*/ 0 h 1076326"/>
              <a:gd name="connsiteX2" fmla="*/ 1538288 w 1538288"/>
              <a:gd name="connsiteY2" fmla="*/ 1076326 h 1076326"/>
              <a:gd name="connsiteX3" fmla="*/ 0 w 1538288"/>
              <a:gd name="connsiteY3" fmla="*/ 1069183 h 1076326"/>
              <a:gd name="connsiteX4" fmla="*/ 223838 w 1538288"/>
              <a:gd name="connsiteY4" fmla="*/ 2382 h 1076326"/>
              <a:gd name="connsiteX0" fmla="*/ 264320 w 1538288"/>
              <a:gd name="connsiteY0" fmla="*/ 2382 h 1076326"/>
              <a:gd name="connsiteX1" fmla="*/ 1040607 w 1538288"/>
              <a:gd name="connsiteY1" fmla="*/ 0 h 1076326"/>
              <a:gd name="connsiteX2" fmla="*/ 1538288 w 1538288"/>
              <a:gd name="connsiteY2" fmla="*/ 1076326 h 1076326"/>
              <a:gd name="connsiteX3" fmla="*/ 0 w 1538288"/>
              <a:gd name="connsiteY3" fmla="*/ 1069183 h 1076326"/>
              <a:gd name="connsiteX4" fmla="*/ 264320 w 1538288"/>
              <a:gd name="connsiteY4" fmla="*/ 2382 h 1076326"/>
              <a:gd name="connsiteX0" fmla="*/ 226220 w 1500188"/>
              <a:gd name="connsiteY0" fmla="*/ 2382 h 1076326"/>
              <a:gd name="connsiteX1" fmla="*/ 1002507 w 1500188"/>
              <a:gd name="connsiteY1" fmla="*/ 0 h 1076326"/>
              <a:gd name="connsiteX2" fmla="*/ 1500188 w 1500188"/>
              <a:gd name="connsiteY2" fmla="*/ 1076326 h 1076326"/>
              <a:gd name="connsiteX3" fmla="*/ 0 w 1500188"/>
              <a:gd name="connsiteY3" fmla="*/ 1064421 h 1076326"/>
              <a:gd name="connsiteX4" fmla="*/ 226220 w 1500188"/>
              <a:gd name="connsiteY4" fmla="*/ 2382 h 1076326"/>
              <a:gd name="connsiteX0" fmla="*/ 226220 w 1357313"/>
              <a:gd name="connsiteY0" fmla="*/ 2382 h 1064421"/>
              <a:gd name="connsiteX1" fmla="*/ 1002507 w 1357313"/>
              <a:gd name="connsiteY1" fmla="*/ 0 h 1064421"/>
              <a:gd name="connsiteX2" fmla="*/ 1357313 w 1357313"/>
              <a:gd name="connsiteY2" fmla="*/ 1050132 h 1064421"/>
              <a:gd name="connsiteX3" fmla="*/ 0 w 1357313"/>
              <a:gd name="connsiteY3" fmla="*/ 1064421 h 1064421"/>
              <a:gd name="connsiteX4" fmla="*/ 226220 w 1357313"/>
              <a:gd name="connsiteY4" fmla="*/ 2382 h 1064421"/>
              <a:gd name="connsiteX0" fmla="*/ 226220 w 1304925"/>
              <a:gd name="connsiteY0" fmla="*/ 2382 h 1064421"/>
              <a:gd name="connsiteX1" fmla="*/ 1002507 w 1304925"/>
              <a:gd name="connsiteY1" fmla="*/ 0 h 1064421"/>
              <a:gd name="connsiteX2" fmla="*/ 1304925 w 1304925"/>
              <a:gd name="connsiteY2" fmla="*/ 1052513 h 1064421"/>
              <a:gd name="connsiteX3" fmla="*/ 0 w 1304925"/>
              <a:gd name="connsiteY3" fmla="*/ 1064421 h 1064421"/>
              <a:gd name="connsiteX4" fmla="*/ 226220 w 1304925"/>
              <a:gd name="connsiteY4" fmla="*/ 2382 h 1064421"/>
              <a:gd name="connsiteX0" fmla="*/ 204789 w 1283494"/>
              <a:gd name="connsiteY0" fmla="*/ 2382 h 1064421"/>
              <a:gd name="connsiteX1" fmla="*/ 981076 w 1283494"/>
              <a:gd name="connsiteY1" fmla="*/ 0 h 1064421"/>
              <a:gd name="connsiteX2" fmla="*/ 1283494 w 1283494"/>
              <a:gd name="connsiteY2" fmla="*/ 1052513 h 1064421"/>
              <a:gd name="connsiteX3" fmla="*/ 0 w 1283494"/>
              <a:gd name="connsiteY3" fmla="*/ 1064421 h 1064421"/>
              <a:gd name="connsiteX4" fmla="*/ 204789 w 1283494"/>
              <a:gd name="connsiteY4" fmla="*/ 2382 h 1064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3494" h="1064421">
                <a:moveTo>
                  <a:pt x="204789" y="2382"/>
                </a:moveTo>
                <a:lnTo>
                  <a:pt x="981076" y="0"/>
                </a:lnTo>
                <a:lnTo>
                  <a:pt x="1283494" y="1052513"/>
                </a:lnTo>
                <a:lnTo>
                  <a:pt x="0" y="1064421"/>
                </a:lnTo>
                <a:lnTo>
                  <a:pt x="204789" y="2382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4A83798E-D63F-4E46-9E01-B7B3BAF9C1E9}"/>
              </a:ext>
            </a:extLst>
          </p:cNvPr>
          <p:cNvGrpSpPr/>
          <p:nvPr/>
        </p:nvGrpSpPr>
        <p:grpSpPr>
          <a:xfrm>
            <a:off x="9402132" y="5002026"/>
            <a:ext cx="291420" cy="535362"/>
            <a:chOff x="8081113" y="3991844"/>
            <a:chExt cx="185341" cy="340486"/>
          </a:xfrm>
        </p:grpSpPr>
        <p:sp>
          <p:nvSpPr>
            <p:cNvPr id="149" name="Oval 23">
              <a:extLst>
                <a:ext uri="{FF2B5EF4-FFF2-40B4-BE49-F238E27FC236}">
                  <a16:creationId xmlns:a16="http://schemas.microsoft.com/office/drawing/2014/main" id="{4F668366-A4DC-4CDA-B111-4A14D4D22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57124" y="4288598"/>
              <a:ext cx="33320" cy="30196"/>
            </a:xfrm>
            <a:prstGeom prst="ellipse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50" name="Rectangle 24">
              <a:extLst>
                <a:ext uri="{FF2B5EF4-FFF2-40B4-BE49-F238E27FC236}">
                  <a16:creationId xmlns:a16="http://schemas.microsoft.com/office/drawing/2014/main" id="{E68FAD44-F1C9-411E-B0AF-41B6CE4F49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7773" y="4030370"/>
              <a:ext cx="152021" cy="24677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dirty="0"/>
            </a:p>
          </p:txBody>
        </p:sp>
        <p:sp>
          <p:nvSpPr>
            <p:cNvPr id="151" name="Freeform 25">
              <a:extLst>
                <a:ext uri="{FF2B5EF4-FFF2-40B4-BE49-F238E27FC236}">
                  <a16:creationId xmlns:a16="http://schemas.microsoft.com/office/drawing/2014/main" id="{87497E83-F135-4BEF-BA91-CE74D58095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8794" y="4007462"/>
              <a:ext cx="49980" cy="7288"/>
            </a:xfrm>
            <a:custGeom>
              <a:avLst/>
              <a:gdLst>
                <a:gd name="T0" fmla="*/ 7 w 159"/>
                <a:gd name="T1" fmla="*/ 26 h 26"/>
                <a:gd name="T2" fmla="*/ 152 w 159"/>
                <a:gd name="T3" fmla="*/ 26 h 26"/>
                <a:gd name="T4" fmla="*/ 159 w 159"/>
                <a:gd name="T5" fmla="*/ 15 h 26"/>
                <a:gd name="T6" fmla="*/ 159 w 159"/>
                <a:gd name="T7" fmla="*/ 12 h 26"/>
                <a:gd name="T8" fmla="*/ 152 w 159"/>
                <a:gd name="T9" fmla="*/ 0 h 26"/>
                <a:gd name="T10" fmla="*/ 7 w 159"/>
                <a:gd name="T11" fmla="*/ 0 h 26"/>
                <a:gd name="T12" fmla="*/ 0 w 159"/>
                <a:gd name="T13" fmla="*/ 12 h 26"/>
                <a:gd name="T14" fmla="*/ 0 w 159"/>
                <a:gd name="T15" fmla="*/ 15 h 26"/>
                <a:gd name="T16" fmla="*/ 7 w 159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9" h="26">
                  <a:moveTo>
                    <a:pt x="7" y="26"/>
                  </a:moveTo>
                  <a:cubicBezTo>
                    <a:pt x="152" y="26"/>
                    <a:pt x="152" y="26"/>
                    <a:pt x="152" y="26"/>
                  </a:cubicBezTo>
                  <a:cubicBezTo>
                    <a:pt x="156" y="26"/>
                    <a:pt x="159" y="21"/>
                    <a:pt x="159" y="15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5"/>
                    <a:pt x="156" y="0"/>
                    <a:pt x="15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5"/>
                    <a:pt x="0" y="1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1"/>
                    <a:pt x="3" y="26"/>
                    <a:pt x="7" y="26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52" name="Freeform 26">
              <a:extLst>
                <a:ext uri="{FF2B5EF4-FFF2-40B4-BE49-F238E27FC236}">
                  <a16:creationId xmlns:a16="http://schemas.microsoft.com/office/drawing/2014/main" id="{D243976C-012C-41E3-9916-1AE7C6B688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81113" y="3991844"/>
              <a:ext cx="185341" cy="340486"/>
            </a:xfrm>
            <a:custGeom>
              <a:avLst/>
              <a:gdLst>
                <a:gd name="T0" fmla="*/ 477 w 583"/>
                <a:gd name="T1" fmla="*/ 0 h 1167"/>
                <a:gd name="T2" fmla="*/ 106 w 583"/>
                <a:gd name="T3" fmla="*/ 0 h 1167"/>
                <a:gd name="T4" fmla="*/ 0 w 583"/>
                <a:gd name="T5" fmla="*/ 106 h 1167"/>
                <a:gd name="T6" fmla="*/ 0 w 583"/>
                <a:gd name="T7" fmla="*/ 1060 h 1167"/>
                <a:gd name="T8" fmla="*/ 106 w 583"/>
                <a:gd name="T9" fmla="*/ 1167 h 1167"/>
                <a:gd name="T10" fmla="*/ 477 w 583"/>
                <a:gd name="T11" fmla="*/ 1167 h 1167"/>
                <a:gd name="T12" fmla="*/ 583 w 583"/>
                <a:gd name="T13" fmla="*/ 1060 h 1167"/>
                <a:gd name="T14" fmla="*/ 583 w 583"/>
                <a:gd name="T15" fmla="*/ 106 h 1167"/>
                <a:gd name="T16" fmla="*/ 477 w 583"/>
                <a:gd name="T17" fmla="*/ 0 h 1167"/>
                <a:gd name="T18" fmla="*/ 212 w 583"/>
                <a:gd name="T19" fmla="*/ 65 h 1167"/>
                <a:gd name="T20" fmla="*/ 219 w 583"/>
                <a:gd name="T21" fmla="*/ 53 h 1167"/>
                <a:gd name="T22" fmla="*/ 364 w 583"/>
                <a:gd name="T23" fmla="*/ 53 h 1167"/>
                <a:gd name="T24" fmla="*/ 371 w 583"/>
                <a:gd name="T25" fmla="*/ 65 h 1167"/>
                <a:gd name="T26" fmla="*/ 371 w 583"/>
                <a:gd name="T27" fmla="*/ 68 h 1167"/>
                <a:gd name="T28" fmla="*/ 364 w 583"/>
                <a:gd name="T29" fmla="*/ 79 h 1167"/>
                <a:gd name="T30" fmla="*/ 219 w 583"/>
                <a:gd name="T31" fmla="*/ 79 h 1167"/>
                <a:gd name="T32" fmla="*/ 212 w 583"/>
                <a:gd name="T33" fmla="*/ 68 h 1167"/>
                <a:gd name="T34" fmla="*/ 212 w 583"/>
                <a:gd name="T35" fmla="*/ 65 h 1167"/>
                <a:gd name="T36" fmla="*/ 291 w 583"/>
                <a:gd name="T37" fmla="*/ 1122 h 1167"/>
                <a:gd name="T38" fmla="*/ 239 w 583"/>
                <a:gd name="T39" fmla="*/ 1069 h 1167"/>
                <a:gd name="T40" fmla="*/ 291 w 583"/>
                <a:gd name="T41" fmla="*/ 1016 h 1167"/>
                <a:gd name="T42" fmla="*/ 344 w 583"/>
                <a:gd name="T43" fmla="*/ 1069 h 1167"/>
                <a:gd name="T44" fmla="*/ 291 w 583"/>
                <a:gd name="T45" fmla="*/ 1122 h 1167"/>
                <a:gd name="T46" fmla="*/ 530 w 583"/>
                <a:gd name="T47" fmla="*/ 979 h 1167"/>
                <a:gd name="T48" fmla="*/ 53 w 583"/>
                <a:gd name="T49" fmla="*/ 979 h 1167"/>
                <a:gd name="T50" fmla="*/ 53 w 583"/>
                <a:gd name="T51" fmla="*/ 132 h 1167"/>
                <a:gd name="T52" fmla="*/ 530 w 583"/>
                <a:gd name="T53" fmla="*/ 132 h 1167"/>
                <a:gd name="T54" fmla="*/ 530 w 583"/>
                <a:gd name="T55" fmla="*/ 979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83" h="1167">
                  <a:moveTo>
                    <a:pt x="477" y="0"/>
                  </a:moveTo>
                  <a:cubicBezTo>
                    <a:pt x="106" y="0"/>
                    <a:pt x="106" y="0"/>
                    <a:pt x="106" y="0"/>
                  </a:cubicBezTo>
                  <a:cubicBezTo>
                    <a:pt x="106" y="0"/>
                    <a:pt x="0" y="0"/>
                    <a:pt x="0" y="106"/>
                  </a:cubicBezTo>
                  <a:cubicBezTo>
                    <a:pt x="0" y="1060"/>
                    <a:pt x="0" y="1060"/>
                    <a:pt x="0" y="1060"/>
                  </a:cubicBezTo>
                  <a:cubicBezTo>
                    <a:pt x="0" y="1167"/>
                    <a:pt x="106" y="1167"/>
                    <a:pt x="106" y="1167"/>
                  </a:cubicBezTo>
                  <a:cubicBezTo>
                    <a:pt x="477" y="1167"/>
                    <a:pt x="477" y="1167"/>
                    <a:pt x="477" y="1167"/>
                  </a:cubicBezTo>
                  <a:cubicBezTo>
                    <a:pt x="477" y="1167"/>
                    <a:pt x="583" y="1167"/>
                    <a:pt x="583" y="1060"/>
                  </a:cubicBezTo>
                  <a:cubicBezTo>
                    <a:pt x="583" y="106"/>
                    <a:pt x="583" y="106"/>
                    <a:pt x="583" y="106"/>
                  </a:cubicBezTo>
                  <a:cubicBezTo>
                    <a:pt x="583" y="0"/>
                    <a:pt x="477" y="0"/>
                    <a:pt x="477" y="0"/>
                  </a:cubicBezTo>
                  <a:close/>
                  <a:moveTo>
                    <a:pt x="212" y="65"/>
                  </a:moveTo>
                  <a:cubicBezTo>
                    <a:pt x="212" y="58"/>
                    <a:pt x="215" y="53"/>
                    <a:pt x="219" y="53"/>
                  </a:cubicBezTo>
                  <a:cubicBezTo>
                    <a:pt x="364" y="53"/>
                    <a:pt x="364" y="53"/>
                    <a:pt x="364" y="53"/>
                  </a:cubicBezTo>
                  <a:cubicBezTo>
                    <a:pt x="368" y="53"/>
                    <a:pt x="371" y="58"/>
                    <a:pt x="371" y="65"/>
                  </a:cubicBezTo>
                  <a:cubicBezTo>
                    <a:pt x="371" y="68"/>
                    <a:pt x="371" y="68"/>
                    <a:pt x="371" y="68"/>
                  </a:cubicBezTo>
                  <a:cubicBezTo>
                    <a:pt x="371" y="74"/>
                    <a:pt x="368" y="79"/>
                    <a:pt x="364" y="79"/>
                  </a:cubicBezTo>
                  <a:cubicBezTo>
                    <a:pt x="219" y="79"/>
                    <a:pt x="219" y="79"/>
                    <a:pt x="219" y="79"/>
                  </a:cubicBezTo>
                  <a:cubicBezTo>
                    <a:pt x="215" y="79"/>
                    <a:pt x="212" y="74"/>
                    <a:pt x="212" y="68"/>
                  </a:cubicBezTo>
                  <a:lnTo>
                    <a:pt x="212" y="65"/>
                  </a:lnTo>
                  <a:close/>
                  <a:moveTo>
                    <a:pt x="291" y="1122"/>
                  </a:moveTo>
                  <a:cubicBezTo>
                    <a:pt x="262" y="1122"/>
                    <a:pt x="239" y="1098"/>
                    <a:pt x="239" y="1069"/>
                  </a:cubicBezTo>
                  <a:cubicBezTo>
                    <a:pt x="239" y="1040"/>
                    <a:pt x="262" y="1016"/>
                    <a:pt x="291" y="1016"/>
                  </a:cubicBezTo>
                  <a:cubicBezTo>
                    <a:pt x="321" y="1016"/>
                    <a:pt x="344" y="1040"/>
                    <a:pt x="344" y="1069"/>
                  </a:cubicBezTo>
                  <a:cubicBezTo>
                    <a:pt x="344" y="1098"/>
                    <a:pt x="321" y="1122"/>
                    <a:pt x="291" y="1122"/>
                  </a:cubicBezTo>
                  <a:close/>
                  <a:moveTo>
                    <a:pt x="530" y="979"/>
                  </a:moveTo>
                  <a:cubicBezTo>
                    <a:pt x="53" y="979"/>
                    <a:pt x="53" y="979"/>
                    <a:pt x="53" y="979"/>
                  </a:cubicBezTo>
                  <a:cubicBezTo>
                    <a:pt x="53" y="132"/>
                    <a:pt x="53" y="132"/>
                    <a:pt x="53" y="132"/>
                  </a:cubicBezTo>
                  <a:cubicBezTo>
                    <a:pt x="530" y="132"/>
                    <a:pt x="530" y="132"/>
                    <a:pt x="530" y="132"/>
                  </a:cubicBezTo>
                  <a:lnTo>
                    <a:pt x="530" y="9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DB3EEE7C-508A-4F43-935E-391A06606423}"/>
              </a:ext>
            </a:extLst>
          </p:cNvPr>
          <p:cNvGrpSpPr/>
          <p:nvPr/>
        </p:nvGrpSpPr>
        <p:grpSpPr>
          <a:xfrm>
            <a:off x="9840379" y="5063314"/>
            <a:ext cx="537945" cy="412778"/>
            <a:chOff x="8336373" y="4067432"/>
            <a:chExt cx="313504" cy="240559"/>
          </a:xfrm>
        </p:grpSpPr>
        <p:sp>
          <p:nvSpPr>
            <p:cNvPr id="154" name="Freeform 42">
              <a:extLst>
                <a:ext uri="{FF2B5EF4-FFF2-40B4-BE49-F238E27FC236}">
                  <a16:creationId xmlns:a16="http://schemas.microsoft.com/office/drawing/2014/main" id="{0316250B-33CE-438B-8C82-2131326CC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6373" y="4067432"/>
              <a:ext cx="313504" cy="240559"/>
            </a:xfrm>
            <a:custGeom>
              <a:avLst/>
              <a:gdLst>
                <a:gd name="T0" fmla="*/ 994 w 994"/>
                <a:gd name="T1" fmla="*/ 636 h 711"/>
                <a:gd name="T2" fmla="*/ 994 w 994"/>
                <a:gd name="T3" fmla="*/ 0 h 711"/>
                <a:gd name="T4" fmla="*/ 0 w 994"/>
                <a:gd name="T5" fmla="*/ 0 h 711"/>
                <a:gd name="T6" fmla="*/ 0 w 994"/>
                <a:gd name="T7" fmla="*/ 636 h 711"/>
                <a:gd name="T8" fmla="*/ 405 w 994"/>
                <a:gd name="T9" fmla="*/ 636 h 711"/>
                <a:gd name="T10" fmla="*/ 405 w 994"/>
                <a:gd name="T11" fmla="*/ 677 h 711"/>
                <a:gd name="T12" fmla="*/ 193 w 994"/>
                <a:gd name="T13" fmla="*/ 677 h 711"/>
                <a:gd name="T14" fmla="*/ 193 w 994"/>
                <a:gd name="T15" fmla="*/ 711 h 711"/>
                <a:gd name="T16" fmla="*/ 788 w 994"/>
                <a:gd name="T17" fmla="*/ 711 h 711"/>
                <a:gd name="T18" fmla="*/ 788 w 994"/>
                <a:gd name="T19" fmla="*/ 677 h 711"/>
                <a:gd name="T20" fmla="*/ 580 w 994"/>
                <a:gd name="T21" fmla="*/ 677 h 711"/>
                <a:gd name="T22" fmla="*/ 580 w 994"/>
                <a:gd name="T23" fmla="*/ 636 h 711"/>
                <a:gd name="T24" fmla="*/ 994 w 994"/>
                <a:gd name="T25" fmla="*/ 636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4" h="711">
                  <a:moveTo>
                    <a:pt x="994" y="636"/>
                  </a:moveTo>
                  <a:lnTo>
                    <a:pt x="994" y="0"/>
                  </a:lnTo>
                  <a:lnTo>
                    <a:pt x="0" y="0"/>
                  </a:lnTo>
                  <a:lnTo>
                    <a:pt x="0" y="636"/>
                  </a:lnTo>
                  <a:lnTo>
                    <a:pt x="405" y="636"/>
                  </a:lnTo>
                  <a:lnTo>
                    <a:pt x="405" y="677"/>
                  </a:lnTo>
                  <a:lnTo>
                    <a:pt x="193" y="677"/>
                  </a:lnTo>
                  <a:lnTo>
                    <a:pt x="193" y="711"/>
                  </a:lnTo>
                  <a:lnTo>
                    <a:pt x="788" y="711"/>
                  </a:lnTo>
                  <a:lnTo>
                    <a:pt x="788" y="677"/>
                  </a:lnTo>
                  <a:lnTo>
                    <a:pt x="580" y="677"/>
                  </a:lnTo>
                  <a:lnTo>
                    <a:pt x="580" y="636"/>
                  </a:lnTo>
                  <a:lnTo>
                    <a:pt x="994" y="6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/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0FB4E024-AF99-4C2C-B4D5-0973F3B15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59397" y="4085702"/>
              <a:ext cx="267456" cy="17661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/>
            </a:p>
          </p:txBody>
        </p:sp>
      </p:grpSp>
      <p:sp>
        <p:nvSpPr>
          <p:cNvPr id="158" name="Speech Bubble: Oval 157">
            <a:extLst>
              <a:ext uri="{FF2B5EF4-FFF2-40B4-BE49-F238E27FC236}">
                <a16:creationId xmlns:a16="http://schemas.microsoft.com/office/drawing/2014/main" id="{4A4692A0-DA14-4C26-93EB-2E6041D4D075}"/>
              </a:ext>
            </a:extLst>
          </p:cNvPr>
          <p:cNvSpPr/>
          <p:nvPr/>
        </p:nvSpPr>
        <p:spPr>
          <a:xfrm>
            <a:off x="9337436" y="4552757"/>
            <a:ext cx="330195" cy="185632"/>
          </a:xfrm>
          <a:prstGeom prst="wedgeEllipseCallout">
            <a:avLst>
              <a:gd name="adj1" fmla="val -39885"/>
              <a:gd name="adj2" fmla="val 94141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7" name="Speech Bubble: Oval 156">
            <a:extLst>
              <a:ext uri="{FF2B5EF4-FFF2-40B4-BE49-F238E27FC236}">
                <a16:creationId xmlns:a16="http://schemas.microsoft.com/office/drawing/2014/main" id="{9B4DB9EC-3203-497F-B4F1-3F0F8E315CAD}"/>
              </a:ext>
            </a:extLst>
          </p:cNvPr>
          <p:cNvSpPr/>
          <p:nvPr/>
        </p:nvSpPr>
        <p:spPr>
          <a:xfrm flipH="1">
            <a:off x="9540181" y="4552755"/>
            <a:ext cx="330195" cy="185632"/>
          </a:xfrm>
          <a:prstGeom prst="wedgeEllipseCallout">
            <a:avLst>
              <a:gd name="adj1" fmla="val -39885"/>
              <a:gd name="adj2" fmla="val 9414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98570DED-789B-4693-A630-A182C340774C}"/>
              </a:ext>
            </a:extLst>
          </p:cNvPr>
          <p:cNvGrpSpPr/>
          <p:nvPr/>
        </p:nvGrpSpPr>
        <p:grpSpPr>
          <a:xfrm>
            <a:off x="6415591" y="4395566"/>
            <a:ext cx="1287435" cy="402986"/>
            <a:chOff x="5937100" y="4218933"/>
            <a:chExt cx="1196605" cy="374555"/>
          </a:xfrm>
        </p:grpSpPr>
        <p:sp>
          <p:nvSpPr>
            <p:cNvPr id="159" name="Arrow: Down 158">
              <a:extLst>
                <a:ext uri="{FF2B5EF4-FFF2-40B4-BE49-F238E27FC236}">
                  <a16:creationId xmlns:a16="http://schemas.microsoft.com/office/drawing/2014/main" id="{FB2351A3-E31E-4AF1-A845-499302CEA712}"/>
                </a:ext>
              </a:extLst>
            </p:cNvPr>
            <p:cNvSpPr/>
            <p:nvPr/>
          </p:nvSpPr>
          <p:spPr>
            <a:xfrm>
              <a:off x="6459769" y="4218933"/>
              <a:ext cx="151266" cy="374555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160" name="Arrow: Down 159">
              <a:extLst>
                <a:ext uri="{FF2B5EF4-FFF2-40B4-BE49-F238E27FC236}">
                  <a16:creationId xmlns:a16="http://schemas.microsoft.com/office/drawing/2014/main" id="{DED9866C-309E-4919-964D-DFEDD41F4BF1}"/>
                </a:ext>
              </a:extLst>
            </p:cNvPr>
            <p:cNvSpPr/>
            <p:nvPr/>
          </p:nvSpPr>
          <p:spPr>
            <a:xfrm>
              <a:off x="6982439" y="4391025"/>
              <a:ext cx="151266" cy="202463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161" name="Arrow: Down 160">
              <a:extLst>
                <a:ext uri="{FF2B5EF4-FFF2-40B4-BE49-F238E27FC236}">
                  <a16:creationId xmlns:a16="http://schemas.microsoft.com/office/drawing/2014/main" id="{89E15152-4809-45DB-B7D5-09218984E9C7}"/>
                </a:ext>
              </a:extLst>
            </p:cNvPr>
            <p:cNvSpPr/>
            <p:nvPr/>
          </p:nvSpPr>
          <p:spPr>
            <a:xfrm>
              <a:off x="5937100" y="4391025"/>
              <a:ext cx="151266" cy="202463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F038D653-1BF1-4C90-96B0-F7827A3CE5F6}"/>
                </a:ext>
              </a:extLst>
            </p:cNvPr>
            <p:cNvSpPr/>
            <p:nvPr/>
          </p:nvSpPr>
          <p:spPr>
            <a:xfrm rot="5400000">
              <a:off x="6497588" y="3839552"/>
              <a:ext cx="75633" cy="1121440"/>
            </a:xfrm>
            <a:custGeom>
              <a:avLst/>
              <a:gdLst>
                <a:gd name="connsiteX0" fmla="*/ 0 w 75633"/>
                <a:gd name="connsiteY0" fmla="*/ 0 h 254274"/>
                <a:gd name="connsiteX1" fmla="*/ 75633 w 75633"/>
                <a:gd name="connsiteY1" fmla="*/ 0 h 254274"/>
                <a:gd name="connsiteX2" fmla="*/ 75633 w 75633"/>
                <a:gd name="connsiteY2" fmla="*/ 254274 h 254274"/>
                <a:gd name="connsiteX3" fmla="*/ 0 w 75633"/>
                <a:gd name="connsiteY3" fmla="*/ 254274 h 254274"/>
                <a:gd name="connsiteX4" fmla="*/ 0 w 75633"/>
                <a:gd name="connsiteY4" fmla="*/ 0 h 254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633" h="254274">
                  <a:moveTo>
                    <a:pt x="0" y="0"/>
                  </a:moveTo>
                  <a:lnTo>
                    <a:pt x="75633" y="0"/>
                  </a:lnTo>
                  <a:lnTo>
                    <a:pt x="75633" y="254274"/>
                  </a:lnTo>
                  <a:lnTo>
                    <a:pt x="0" y="25427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B5A36EB8-21E8-48D8-9BB3-A1528ACE050A}"/>
              </a:ext>
            </a:extLst>
          </p:cNvPr>
          <p:cNvGrpSpPr/>
          <p:nvPr/>
        </p:nvGrpSpPr>
        <p:grpSpPr>
          <a:xfrm>
            <a:off x="8853510" y="4968904"/>
            <a:ext cx="421847" cy="631641"/>
            <a:chOff x="1735162" y="4843358"/>
            <a:chExt cx="421847" cy="631641"/>
          </a:xfrm>
        </p:grpSpPr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F1260628-DFD2-4910-8157-951CB03C9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979" y="5012548"/>
              <a:ext cx="117305" cy="27070"/>
            </a:xfrm>
            <a:custGeom>
              <a:avLst/>
              <a:gdLst>
                <a:gd name="T0" fmla="*/ 0 w 297"/>
                <a:gd name="T1" fmla="*/ 46 h 66"/>
                <a:gd name="T2" fmla="*/ 114 w 297"/>
                <a:gd name="T3" fmla="*/ 66 h 66"/>
                <a:gd name="T4" fmla="*/ 296 w 297"/>
                <a:gd name="T5" fmla="*/ 41 h 66"/>
                <a:gd name="T6" fmla="*/ 296 w 297"/>
                <a:gd name="T7" fmla="*/ 34 h 66"/>
                <a:gd name="T8" fmla="*/ 297 w 297"/>
                <a:gd name="T9" fmla="*/ 0 h 66"/>
                <a:gd name="T10" fmla="*/ 0 w 297"/>
                <a:gd name="T11" fmla="*/ 4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7" h="66">
                  <a:moveTo>
                    <a:pt x="0" y="46"/>
                  </a:moveTo>
                  <a:cubicBezTo>
                    <a:pt x="114" y="66"/>
                    <a:pt x="114" y="66"/>
                    <a:pt x="114" y="66"/>
                  </a:cubicBezTo>
                  <a:cubicBezTo>
                    <a:pt x="296" y="41"/>
                    <a:pt x="296" y="41"/>
                    <a:pt x="296" y="41"/>
                  </a:cubicBezTo>
                  <a:cubicBezTo>
                    <a:pt x="296" y="38"/>
                    <a:pt x="296" y="36"/>
                    <a:pt x="296" y="34"/>
                  </a:cubicBezTo>
                  <a:cubicBezTo>
                    <a:pt x="296" y="22"/>
                    <a:pt x="297" y="11"/>
                    <a:pt x="297" y="0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62" name="Oval 13">
              <a:extLst>
                <a:ext uri="{FF2B5EF4-FFF2-40B4-BE49-F238E27FC236}">
                  <a16:creationId xmlns:a16="http://schemas.microsoft.com/office/drawing/2014/main" id="{957BA4E0-2FB8-4FC9-B5F5-6930A6EF70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9539" y="5041874"/>
              <a:ext cx="49629" cy="51885"/>
            </a:xfrm>
            <a:prstGeom prst="ellipse">
              <a:avLst/>
            </a:pr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63" name="Freeform 14">
              <a:extLst>
                <a:ext uri="{FF2B5EF4-FFF2-40B4-BE49-F238E27FC236}">
                  <a16:creationId xmlns:a16="http://schemas.microsoft.com/office/drawing/2014/main" id="{099F0483-63C9-457D-B108-A0D9F97F3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145" y="4989989"/>
              <a:ext cx="117305" cy="33839"/>
            </a:xfrm>
            <a:custGeom>
              <a:avLst/>
              <a:gdLst>
                <a:gd name="T0" fmla="*/ 3 w 291"/>
                <a:gd name="T1" fmla="*/ 44 h 86"/>
                <a:gd name="T2" fmla="*/ 0 w 291"/>
                <a:gd name="T3" fmla="*/ 86 h 86"/>
                <a:gd name="T4" fmla="*/ 291 w 291"/>
                <a:gd name="T5" fmla="*/ 41 h 86"/>
                <a:gd name="T6" fmla="*/ 285 w 291"/>
                <a:gd name="T7" fmla="*/ 0 h 86"/>
                <a:gd name="T8" fmla="*/ 3 w 291"/>
                <a:gd name="T9" fmla="*/ 4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1" h="86">
                  <a:moveTo>
                    <a:pt x="3" y="44"/>
                  </a:moveTo>
                  <a:cubicBezTo>
                    <a:pt x="1" y="58"/>
                    <a:pt x="1" y="72"/>
                    <a:pt x="0" y="86"/>
                  </a:cubicBezTo>
                  <a:cubicBezTo>
                    <a:pt x="291" y="41"/>
                    <a:pt x="291" y="41"/>
                    <a:pt x="291" y="41"/>
                  </a:cubicBezTo>
                  <a:cubicBezTo>
                    <a:pt x="289" y="26"/>
                    <a:pt x="287" y="14"/>
                    <a:pt x="285" y="0"/>
                  </a:cubicBezTo>
                  <a:lnTo>
                    <a:pt x="3" y="44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64" name="Freeform 15">
              <a:extLst>
                <a:ext uri="{FF2B5EF4-FFF2-40B4-BE49-F238E27FC236}">
                  <a16:creationId xmlns:a16="http://schemas.microsoft.com/office/drawing/2014/main" id="{DE63F9E9-DF20-48BD-95AD-40D827C39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5800" y="4978710"/>
              <a:ext cx="42863" cy="20304"/>
            </a:xfrm>
            <a:custGeom>
              <a:avLst/>
              <a:gdLst>
                <a:gd name="T0" fmla="*/ 0 w 110"/>
                <a:gd name="T1" fmla="*/ 5 h 50"/>
                <a:gd name="T2" fmla="*/ 8 w 110"/>
                <a:gd name="T3" fmla="*/ 50 h 50"/>
                <a:gd name="T4" fmla="*/ 110 w 110"/>
                <a:gd name="T5" fmla="*/ 35 h 50"/>
                <a:gd name="T6" fmla="*/ 27 w 110"/>
                <a:gd name="T7" fmla="*/ 0 h 50"/>
                <a:gd name="T8" fmla="*/ 0 w 110"/>
                <a:gd name="T9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50">
                  <a:moveTo>
                    <a:pt x="0" y="5"/>
                  </a:moveTo>
                  <a:cubicBezTo>
                    <a:pt x="2" y="20"/>
                    <a:pt x="6" y="34"/>
                    <a:pt x="8" y="50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66" name="Oval 16">
              <a:extLst>
                <a:ext uri="{FF2B5EF4-FFF2-40B4-BE49-F238E27FC236}">
                  <a16:creationId xmlns:a16="http://schemas.microsoft.com/office/drawing/2014/main" id="{9C365E65-CBA5-4549-97FA-068D87280F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218" y="5014804"/>
              <a:ext cx="49629" cy="51885"/>
            </a:xfrm>
            <a:prstGeom prst="ellipse">
              <a:avLst/>
            </a:pr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67" name="Freeform 17">
              <a:extLst>
                <a:ext uri="{FF2B5EF4-FFF2-40B4-BE49-F238E27FC236}">
                  <a16:creationId xmlns:a16="http://schemas.microsoft.com/office/drawing/2014/main" id="{23FD78E7-1116-4039-B356-FFB478EA9F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5162" y="4843358"/>
              <a:ext cx="421847" cy="631641"/>
            </a:xfrm>
            <a:custGeom>
              <a:avLst/>
              <a:gdLst>
                <a:gd name="T0" fmla="*/ 1015 w 1059"/>
                <a:gd name="T1" fmla="*/ 372 h 1585"/>
                <a:gd name="T2" fmla="*/ 1015 w 1059"/>
                <a:gd name="T3" fmla="*/ 372 h 1585"/>
                <a:gd name="T4" fmla="*/ 885 w 1059"/>
                <a:gd name="T5" fmla="*/ 317 h 1585"/>
                <a:gd name="T6" fmla="*/ 852 w 1059"/>
                <a:gd name="T7" fmla="*/ 322 h 1585"/>
                <a:gd name="T8" fmla="*/ 613 w 1059"/>
                <a:gd name="T9" fmla="*/ 56 h 1585"/>
                <a:gd name="T10" fmla="*/ 574 w 1059"/>
                <a:gd name="T11" fmla="*/ 61 h 1585"/>
                <a:gd name="T12" fmla="*/ 424 w 1059"/>
                <a:gd name="T13" fmla="*/ 0 h 1585"/>
                <a:gd name="T14" fmla="*/ 169 w 1059"/>
                <a:gd name="T15" fmla="*/ 429 h 1585"/>
                <a:gd name="T16" fmla="*/ 14 w 1059"/>
                <a:gd name="T17" fmla="*/ 454 h 1585"/>
                <a:gd name="T18" fmla="*/ 0 w 1059"/>
                <a:gd name="T19" fmla="*/ 1495 h 1585"/>
                <a:gd name="T20" fmla="*/ 210 w 1059"/>
                <a:gd name="T21" fmla="*/ 1585 h 1585"/>
                <a:gd name="T22" fmla="*/ 1059 w 1059"/>
                <a:gd name="T23" fmla="*/ 1453 h 1585"/>
                <a:gd name="T24" fmla="*/ 1016 w 1059"/>
                <a:gd name="T25" fmla="*/ 372 h 1585"/>
                <a:gd name="T26" fmla="*/ 1015 w 1059"/>
                <a:gd name="T27" fmla="*/ 372 h 1585"/>
                <a:gd name="T28" fmla="*/ 745 w 1059"/>
                <a:gd name="T29" fmla="*/ 339 h 1585"/>
                <a:gd name="T30" fmla="*/ 681 w 1059"/>
                <a:gd name="T31" fmla="*/ 349 h 1585"/>
                <a:gd name="T32" fmla="*/ 647 w 1059"/>
                <a:gd name="T33" fmla="*/ 174 h 1585"/>
                <a:gd name="T34" fmla="*/ 745 w 1059"/>
                <a:gd name="T35" fmla="*/ 339 h 1585"/>
                <a:gd name="T36" fmla="*/ 573 w 1059"/>
                <a:gd name="T37" fmla="*/ 366 h 1585"/>
                <a:gd name="T38" fmla="*/ 472 w 1059"/>
                <a:gd name="T39" fmla="*/ 382 h 1585"/>
                <a:gd name="T40" fmla="*/ 543 w 1059"/>
                <a:gd name="T41" fmla="*/ 204 h 1585"/>
                <a:gd name="T42" fmla="*/ 573 w 1059"/>
                <a:gd name="T43" fmla="*/ 366 h 1585"/>
                <a:gd name="T44" fmla="*/ 358 w 1059"/>
                <a:gd name="T45" fmla="*/ 467 h 1585"/>
                <a:gd name="T46" fmla="*/ 176 w 1059"/>
                <a:gd name="T47" fmla="*/ 492 h 1585"/>
                <a:gd name="T48" fmla="*/ 62 w 1059"/>
                <a:gd name="T49" fmla="*/ 472 h 1585"/>
                <a:gd name="T50" fmla="*/ 359 w 1059"/>
                <a:gd name="T51" fmla="*/ 426 h 1585"/>
                <a:gd name="T52" fmla="*/ 358 w 1059"/>
                <a:gd name="T53" fmla="*/ 460 h 1585"/>
                <a:gd name="T54" fmla="*/ 358 w 1059"/>
                <a:gd name="T55" fmla="*/ 467 h 1585"/>
                <a:gd name="T56" fmla="*/ 278 w 1059"/>
                <a:gd name="T57" fmla="*/ 412 h 1585"/>
                <a:gd name="T58" fmla="*/ 424 w 1059"/>
                <a:gd name="T59" fmla="*/ 108 h 1585"/>
                <a:gd name="T60" fmla="*/ 473 w 1059"/>
                <a:gd name="T61" fmla="*/ 120 h 1585"/>
                <a:gd name="T62" fmla="*/ 361 w 1059"/>
                <a:gd name="T63" fmla="*/ 399 h 1585"/>
                <a:gd name="T64" fmla="*/ 278 w 1059"/>
                <a:gd name="T65" fmla="*/ 412 h 1585"/>
                <a:gd name="T66" fmla="*/ 426 w 1059"/>
                <a:gd name="T67" fmla="*/ 625 h 1585"/>
                <a:gd name="T68" fmla="*/ 362 w 1059"/>
                <a:gd name="T69" fmla="*/ 560 h 1585"/>
                <a:gd name="T70" fmla="*/ 426 w 1059"/>
                <a:gd name="T71" fmla="*/ 496 h 1585"/>
                <a:gd name="T72" fmla="*/ 490 w 1059"/>
                <a:gd name="T73" fmla="*/ 560 h 1585"/>
                <a:gd name="T74" fmla="*/ 426 w 1059"/>
                <a:gd name="T75" fmla="*/ 625 h 1585"/>
                <a:gd name="T76" fmla="*/ 466 w 1059"/>
                <a:gd name="T77" fmla="*/ 451 h 1585"/>
                <a:gd name="T78" fmla="*/ 469 w 1059"/>
                <a:gd name="T79" fmla="*/ 409 h 1585"/>
                <a:gd name="T80" fmla="*/ 751 w 1059"/>
                <a:gd name="T81" fmla="*/ 365 h 1585"/>
                <a:gd name="T82" fmla="*/ 757 w 1059"/>
                <a:gd name="T83" fmla="*/ 406 h 1585"/>
                <a:gd name="T84" fmla="*/ 466 w 1059"/>
                <a:gd name="T85" fmla="*/ 451 h 1585"/>
                <a:gd name="T86" fmla="*/ 839 w 1059"/>
                <a:gd name="T87" fmla="*/ 560 h 1585"/>
                <a:gd name="T88" fmla="*/ 775 w 1059"/>
                <a:gd name="T89" fmla="*/ 496 h 1585"/>
                <a:gd name="T90" fmla="*/ 839 w 1059"/>
                <a:gd name="T91" fmla="*/ 432 h 1585"/>
                <a:gd name="T92" fmla="*/ 903 w 1059"/>
                <a:gd name="T93" fmla="*/ 496 h 1585"/>
                <a:gd name="T94" fmla="*/ 839 w 1059"/>
                <a:gd name="T95" fmla="*/ 560 h 1585"/>
                <a:gd name="T96" fmla="*/ 864 w 1059"/>
                <a:gd name="T97" fmla="*/ 391 h 1585"/>
                <a:gd name="T98" fmla="*/ 856 w 1059"/>
                <a:gd name="T99" fmla="*/ 346 h 1585"/>
                <a:gd name="T100" fmla="*/ 883 w 1059"/>
                <a:gd name="T101" fmla="*/ 341 h 1585"/>
                <a:gd name="T102" fmla="*/ 966 w 1059"/>
                <a:gd name="T103" fmla="*/ 376 h 1585"/>
                <a:gd name="T104" fmla="*/ 864 w 1059"/>
                <a:gd name="T105" fmla="*/ 391 h 1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59" h="1585">
                  <a:moveTo>
                    <a:pt x="1015" y="372"/>
                  </a:moveTo>
                  <a:cubicBezTo>
                    <a:pt x="1015" y="372"/>
                    <a:pt x="1015" y="372"/>
                    <a:pt x="1015" y="372"/>
                  </a:cubicBezTo>
                  <a:cubicBezTo>
                    <a:pt x="885" y="317"/>
                    <a:pt x="885" y="317"/>
                    <a:pt x="885" y="317"/>
                  </a:cubicBezTo>
                  <a:cubicBezTo>
                    <a:pt x="852" y="322"/>
                    <a:pt x="852" y="322"/>
                    <a:pt x="852" y="322"/>
                  </a:cubicBezTo>
                  <a:cubicBezTo>
                    <a:pt x="817" y="165"/>
                    <a:pt x="725" y="56"/>
                    <a:pt x="613" y="56"/>
                  </a:cubicBezTo>
                  <a:cubicBezTo>
                    <a:pt x="599" y="56"/>
                    <a:pt x="587" y="58"/>
                    <a:pt x="574" y="61"/>
                  </a:cubicBezTo>
                  <a:cubicBezTo>
                    <a:pt x="533" y="22"/>
                    <a:pt x="483" y="0"/>
                    <a:pt x="424" y="0"/>
                  </a:cubicBezTo>
                  <a:cubicBezTo>
                    <a:pt x="253" y="0"/>
                    <a:pt x="171" y="227"/>
                    <a:pt x="169" y="429"/>
                  </a:cubicBezTo>
                  <a:cubicBezTo>
                    <a:pt x="14" y="454"/>
                    <a:pt x="14" y="454"/>
                    <a:pt x="14" y="454"/>
                  </a:cubicBezTo>
                  <a:cubicBezTo>
                    <a:pt x="0" y="1495"/>
                    <a:pt x="0" y="1495"/>
                    <a:pt x="0" y="1495"/>
                  </a:cubicBezTo>
                  <a:cubicBezTo>
                    <a:pt x="210" y="1585"/>
                    <a:pt x="210" y="1585"/>
                    <a:pt x="210" y="1585"/>
                  </a:cubicBezTo>
                  <a:cubicBezTo>
                    <a:pt x="1059" y="1453"/>
                    <a:pt x="1059" y="1453"/>
                    <a:pt x="1059" y="1453"/>
                  </a:cubicBezTo>
                  <a:cubicBezTo>
                    <a:pt x="1016" y="372"/>
                    <a:pt x="1016" y="372"/>
                    <a:pt x="1016" y="372"/>
                  </a:cubicBezTo>
                  <a:lnTo>
                    <a:pt x="1015" y="372"/>
                  </a:lnTo>
                  <a:close/>
                  <a:moveTo>
                    <a:pt x="745" y="339"/>
                  </a:moveTo>
                  <a:cubicBezTo>
                    <a:pt x="681" y="349"/>
                    <a:pt x="681" y="349"/>
                    <a:pt x="681" y="349"/>
                  </a:cubicBezTo>
                  <a:cubicBezTo>
                    <a:pt x="678" y="284"/>
                    <a:pt x="666" y="224"/>
                    <a:pt x="647" y="174"/>
                  </a:cubicBezTo>
                  <a:cubicBezTo>
                    <a:pt x="687" y="196"/>
                    <a:pt x="725" y="255"/>
                    <a:pt x="745" y="339"/>
                  </a:cubicBezTo>
                  <a:close/>
                  <a:moveTo>
                    <a:pt x="573" y="366"/>
                  </a:moveTo>
                  <a:cubicBezTo>
                    <a:pt x="472" y="382"/>
                    <a:pt x="472" y="382"/>
                    <a:pt x="472" y="382"/>
                  </a:cubicBezTo>
                  <a:cubicBezTo>
                    <a:pt x="483" y="303"/>
                    <a:pt x="510" y="241"/>
                    <a:pt x="543" y="204"/>
                  </a:cubicBezTo>
                  <a:cubicBezTo>
                    <a:pt x="562" y="247"/>
                    <a:pt x="572" y="303"/>
                    <a:pt x="573" y="366"/>
                  </a:cubicBezTo>
                  <a:close/>
                  <a:moveTo>
                    <a:pt x="358" y="467"/>
                  </a:moveTo>
                  <a:cubicBezTo>
                    <a:pt x="176" y="492"/>
                    <a:pt x="176" y="492"/>
                    <a:pt x="176" y="492"/>
                  </a:cubicBezTo>
                  <a:cubicBezTo>
                    <a:pt x="62" y="472"/>
                    <a:pt x="62" y="472"/>
                    <a:pt x="62" y="472"/>
                  </a:cubicBezTo>
                  <a:cubicBezTo>
                    <a:pt x="359" y="426"/>
                    <a:pt x="359" y="426"/>
                    <a:pt x="359" y="426"/>
                  </a:cubicBezTo>
                  <a:cubicBezTo>
                    <a:pt x="359" y="437"/>
                    <a:pt x="358" y="448"/>
                    <a:pt x="358" y="460"/>
                  </a:cubicBezTo>
                  <a:cubicBezTo>
                    <a:pt x="358" y="462"/>
                    <a:pt x="358" y="464"/>
                    <a:pt x="358" y="467"/>
                  </a:cubicBezTo>
                  <a:close/>
                  <a:moveTo>
                    <a:pt x="278" y="412"/>
                  </a:moveTo>
                  <a:cubicBezTo>
                    <a:pt x="285" y="249"/>
                    <a:pt x="346" y="108"/>
                    <a:pt x="424" y="108"/>
                  </a:cubicBezTo>
                  <a:cubicBezTo>
                    <a:pt x="442" y="108"/>
                    <a:pt x="458" y="113"/>
                    <a:pt x="473" y="120"/>
                  </a:cubicBezTo>
                  <a:cubicBezTo>
                    <a:pt x="413" y="181"/>
                    <a:pt x="372" y="281"/>
                    <a:pt x="361" y="399"/>
                  </a:cubicBezTo>
                  <a:lnTo>
                    <a:pt x="278" y="412"/>
                  </a:lnTo>
                  <a:close/>
                  <a:moveTo>
                    <a:pt x="426" y="625"/>
                  </a:moveTo>
                  <a:cubicBezTo>
                    <a:pt x="391" y="625"/>
                    <a:pt x="362" y="596"/>
                    <a:pt x="362" y="560"/>
                  </a:cubicBezTo>
                  <a:cubicBezTo>
                    <a:pt x="362" y="525"/>
                    <a:pt x="391" y="496"/>
                    <a:pt x="426" y="496"/>
                  </a:cubicBezTo>
                  <a:cubicBezTo>
                    <a:pt x="462" y="496"/>
                    <a:pt x="490" y="525"/>
                    <a:pt x="490" y="560"/>
                  </a:cubicBezTo>
                  <a:cubicBezTo>
                    <a:pt x="490" y="596"/>
                    <a:pt x="462" y="625"/>
                    <a:pt x="426" y="625"/>
                  </a:cubicBezTo>
                  <a:close/>
                  <a:moveTo>
                    <a:pt x="466" y="451"/>
                  </a:moveTo>
                  <a:cubicBezTo>
                    <a:pt x="467" y="437"/>
                    <a:pt x="467" y="423"/>
                    <a:pt x="469" y="409"/>
                  </a:cubicBezTo>
                  <a:cubicBezTo>
                    <a:pt x="751" y="365"/>
                    <a:pt x="751" y="365"/>
                    <a:pt x="751" y="365"/>
                  </a:cubicBezTo>
                  <a:cubicBezTo>
                    <a:pt x="753" y="379"/>
                    <a:pt x="755" y="391"/>
                    <a:pt x="757" y="406"/>
                  </a:cubicBezTo>
                  <a:lnTo>
                    <a:pt x="466" y="451"/>
                  </a:lnTo>
                  <a:close/>
                  <a:moveTo>
                    <a:pt x="839" y="560"/>
                  </a:moveTo>
                  <a:cubicBezTo>
                    <a:pt x="803" y="560"/>
                    <a:pt x="775" y="531"/>
                    <a:pt x="775" y="496"/>
                  </a:cubicBezTo>
                  <a:cubicBezTo>
                    <a:pt x="775" y="460"/>
                    <a:pt x="803" y="432"/>
                    <a:pt x="839" y="432"/>
                  </a:cubicBezTo>
                  <a:cubicBezTo>
                    <a:pt x="874" y="432"/>
                    <a:pt x="903" y="460"/>
                    <a:pt x="903" y="496"/>
                  </a:cubicBezTo>
                  <a:cubicBezTo>
                    <a:pt x="903" y="531"/>
                    <a:pt x="874" y="560"/>
                    <a:pt x="839" y="560"/>
                  </a:cubicBezTo>
                  <a:close/>
                  <a:moveTo>
                    <a:pt x="864" y="391"/>
                  </a:moveTo>
                  <a:cubicBezTo>
                    <a:pt x="862" y="375"/>
                    <a:pt x="858" y="361"/>
                    <a:pt x="856" y="346"/>
                  </a:cubicBezTo>
                  <a:cubicBezTo>
                    <a:pt x="883" y="341"/>
                    <a:pt x="883" y="341"/>
                    <a:pt x="883" y="341"/>
                  </a:cubicBezTo>
                  <a:cubicBezTo>
                    <a:pt x="966" y="376"/>
                    <a:pt x="966" y="376"/>
                    <a:pt x="966" y="376"/>
                  </a:cubicBezTo>
                  <a:lnTo>
                    <a:pt x="864" y="39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dirty="0"/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8EA9BB0A-278E-48F1-857C-A05B9D461CA6}"/>
              </a:ext>
            </a:extLst>
          </p:cNvPr>
          <p:cNvGrpSpPr/>
          <p:nvPr/>
        </p:nvGrpSpPr>
        <p:grpSpPr>
          <a:xfrm>
            <a:off x="6258846" y="4843358"/>
            <a:ext cx="421847" cy="631641"/>
            <a:chOff x="1735162" y="4843358"/>
            <a:chExt cx="421847" cy="631641"/>
          </a:xfrm>
        </p:grpSpPr>
        <p:sp>
          <p:nvSpPr>
            <p:cNvPr id="170" name="Freeform 12">
              <a:extLst>
                <a:ext uri="{FF2B5EF4-FFF2-40B4-BE49-F238E27FC236}">
                  <a16:creationId xmlns:a16="http://schemas.microsoft.com/office/drawing/2014/main" id="{4F6B24AF-C1BE-47C3-A0CC-35F78E1A8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979" y="5012548"/>
              <a:ext cx="117305" cy="27070"/>
            </a:xfrm>
            <a:custGeom>
              <a:avLst/>
              <a:gdLst>
                <a:gd name="T0" fmla="*/ 0 w 297"/>
                <a:gd name="T1" fmla="*/ 46 h 66"/>
                <a:gd name="T2" fmla="*/ 114 w 297"/>
                <a:gd name="T3" fmla="*/ 66 h 66"/>
                <a:gd name="T4" fmla="*/ 296 w 297"/>
                <a:gd name="T5" fmla="*/ 41 h 66"/>
                <a:gd name="T6" fmla="*/ 296 w 297"/>
                <a:gd name="T7" fmla="*/ 34 h 66"/>
                <a:gd name="T8" fmla="*/ 297 w 297"/>
                <a:gd name="T9" fmla="*/ 0 h 66"/>
                <a:gd name="T10" fmla="*/ 0 w 297"/>
                <a:gd name="T11" fmla="*/ 4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7" h="66">
                  <a:moveTo>
                    <a:pt x="0" y="46"/>
                  </a:moveTo>
                  <a:cubicBezTo>
                    <a:pt x="114" y="66"/>
                    <a:pt x="114" y="66"/>
                    <a:pt x="114" y="66"/>
                  </a:cubicBezTo>
                  <a:cubicBezTo>
                    <a:pt x="296" y="41"/>
                    <a:pt x="296" y="41"/>
                    <a:pt x="296" y="41"/>
                  </a:cubicBezTo>
                  <a:cubicBezTo>
                    <a:pt x="296" y="38"/>
                    <a:pt x="296" y="36"/>
                    <a:pt x="296" y="34"/>
                  </a:cubicBezTo>
                  <a:cubicBezTo>
                    <a:pt x="296" y="22"/>
                    <a:pt x="297" y="11"/>
                    <a:pt x="297" y="0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71" name="Oval 13">
              <a:extLst>
                <a:ext uri="{FF2B5EF4-FFF2-40B4-BE49-F238E27FC236}">
                  <a16:creationId xmlns:a16="http://schemas.microsoft.com/office/drawing/2014/main" id="{2F3D1FBC-FD42-4638-98FB-9310F9B85D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9539" y="5041874"/>
              <a:ext cx="49629" cy="51885"/>
            </a:xfrm>
            <a:prstGeom prst="ellipse">
              <a:avLst/>
            </a:pr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72" name="Freeform 14">
              <a:extLst>
                <a:ext uri="{FF2B5EF4-FFF2-40B4-BE49-F238E27FC236}">
                  <a16:creationId xmlns:a16="http://schemas.microsoft.com/office/drawing/2014/main" id="{9D6BB6AA-6E10-480E-ACE9-D47B611BF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145" y="4989989"/>
              <a:ext cx="117305" cy="33839"/>
            </a:xfrm>
            <a:custGeom>
              <a:avLst/>
              <a:gdLst>
                <a:gd name="T0" fmla="*/ 3 w 291"/>
                <a:gd name="T1" fmla="*/ 44 h 86"/>
                <a:gd name="T2" fmla="*/ 0 w 291"/>
                <a:gd name="T3" fmla="*/ 86 h 86"/>
                <a:gd name="T4" fmla="*/ 291 w 291"/>
                <a:gd name="T5" fmla="*/ 41 h 86"/>
                <a:gd name="T6" fmla="*/ 285 w 291"/>
                <a:gd name="T7" fmla="*/ 0 h 86"/>
                <a:gd name="T8" fmla="*/ 3 w 291"/>
                <a:gd name="T9" fmla="*/ 4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1" h="86">
                  <a:moveTo>
                    <a:pt x="3" y="44"/>
                  </a:moveTo>
                  <a:cubicBezTo>
                    <a:pt x="1" y="58"/>
                    <a:pt x="1" y="72"/>
                    <a:pt x="0" y="86"/>
                  </a:cubicBezTo>
                  <a:cubicBezTo>
                    <a:pt x="291" y="41"/>
                    <a:pt x="291" y="41"/>
                    <a:pt x="291" y="41"/>
                  </a:cubicBezTo>
                  <a:cubicBezTo>
                    <a:pt x="289" y="26"/>
                    <a:pt x="287" y="14"/>
                    <a:pt x="285" y="0"/>
                  </a:cubicBezTo>
                  <a:lnTo>
                    <a:pt x="3" y="44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73" name="Freeform 15">
              <a:extLst>
                <a:ext uri="{FF2B5EF4-FFF2-40B4-BE49-F238E27FC236}">
                  <a16:creationId xmlns:a16="http://schemas.microsoft.com/office/drawing/2014/main" id="{FE933F16-16DC-4962-B504-94E209FAF6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5800" y="4978710"/>
              <a:ext cx="42863" cy="20304"/>
            </a:xfrm>
            <a:custGeom>
              <a:avLst/>
              <a:gdLst>
                <a:gd name="T0" fmla="*/ 0 w 110"/>
                <a:gd name="T1" fmla="*/ 5 h 50"/>
                <a:gd name="T2" fmla="*/ 8 w 110"/>
                <a:gd name="T3" fmla="*/ 50 h 50"/>
                <a:gd name="T4" fmla="*/ 110 w 110"/>
                <a:gd name="T5" fmla="*/ 35 h 50"/>
                <a:gd name="T6" fmla="*/ 27 w 110"/>
                <a:gd name="T7" fmla="*/ 0 h 50"/>
                <a:gd name="T8" fmla="*/ 0 w 110"/>
                <a:gd name="T9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50">
                  <a:moveTo>
                    <a:pt x="0" y="5"/>
                  </a:moveTo>
                  <a:cubicBezTo>
                    <a:pt x="2" y="20"/>
                    <a:pt x="6" y="34"/>
                    <a:pt x="8" y="50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74" name="Oval 16">
              <a:extLst>
                <a:ext uri="{FF2B5EF4-FFF2-40B4-BE49-F238E27FC236}">
                  <a16:creationId xmlns:a16="http://schemas.microsoft.com/office/drawing/2014/main" id="{897F6F0F-5F1D-4C88-9F1B-59F2E13632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218" y="5014804"/>
              <a:ext cx="49629" cy="51885"/>
            </a:xfrm>
            <a:prstGeom prst="ellipse">
              <a:avLst/>
            </a:pr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75" name="Freeform 17">
              <a:extLst>
                <a:ext uri="{FF2B5EF4-FFF2-40B4-BE49-F238E27FC236}">
                  <a16:creationId xmlns:a16="http://schemas.microsoft.com/office/drawing/2014/main" id="{0A79CFF4-E8A4-47AC-94B6-F2CEA08DB4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5162" y="4843358"/>
              <a:ext cx="421847" cy="631641"/>
            </a:xfrm>
            <a:custGeom>
              <a:avLst/>
              <a:gdLst>
                <a:gd name="T0" fmla="*/ 1015 w 1059"/>
                <a:gd name="T1" fmla="*/ 372 h 1585"/>
                <a:gd name="T2" fmla="*/ 1015 w 1059"/>
                <a:gd name="T3" fmla="*/ 372 h 1585"/>
                <a:gd name="T4" fmla="*/ 885 w 1059"/>
                <a:gd name="T5" fmla="*/ 317 h 1585"/>
                <a:gd name="T6" fmla="*/ 852 w 1059"/>
                <a:gd name="T7" fmla="*/ 322 h 1585"/>
                <a:gd name="T8" fmla="*/ 613 w 1059"/>
                <a:gd name="T9" fmla="*/ 56 h 1585"/>
                <a:gd name="T10" fmla="*/ 574 w 1059"/>
                <a:gd name="T11" fmla="*/ 61 h 1585"/>
                <a:gd name="T12" fmla="*/ 424 w 1059"/>
                <a:gd name="T13" fmla="*/ 0 h 1585"/>
                <a:gd name="T14" fmla="*/ 169 w 1059"/>
                <a:gd name="T15" fmla="*/ 429 h 1585"/>
                <a:gd name="T16" fmla="*/ 14 w 1059"/>
                <a:gd name="T17" fmla="*/ 454 h 1585"/>
                <a:gd name="T18" fmla="*/ 0 w 1059"/>
                <a:gd name="T19" fmla="*/ 1495 h 1585"/>
                <a:gd name="T20" fmla="*/ 210 w 1059"/>
                <a:gd name="T21" fmla="*/ 1585 h 1585"/>
                <a:gd name="T22" fmla="*/ 1059 w 1059"/>
                <a:gd name="T23" fmla="*/ 1453 h 1585"/>
                <a:gd name="T24" fmla="*/ 1016 w 1059"/>
                <a:gd name="T25" fmla="*/ 372 h 1585"/>
                <a:gd name="T26" fmla="*/ 1015 w 1059"/>
                <a:gd name="T27" fmla="*/ 372 h 1585"/>
                <a:gd name="T28" fmla="*/ 745 w 1059"/>
                <a:gd name="T29" fmla="*/ 339 h 1585"/>
                <a:gd name="T30" fmla="*/ 681 w 1059"/>
                <a:gd name="T31" fmla="*/ 349 h 1585"/>
                <a:gd name="T32" fmla="*/ 647 w 1059"/>
                <a:gd name="T33" fmla="*/ 174 h 1585"/>
                <a:gd name="T34" fmla="*/ 745 w 1059"/>
                <a:gd name="T35" fmla="*/ 339 h 1585"/>
                <a:gd name="T36" fmla="*/ 573 w 1059"/>
                <a:gd name="T37" fmla="*/ 366 h 1585"/>
                <a:gd name="T38" fmla="*/ 472 w 1059"/>
                <a:gd name="T39" fmla="*/ 382 h 1585"/>
                <a:gd name="T40" fmla="*/ 543 w 1059"/>
                <a:gd name="T41" fmla="*/ 204 h 1585"/>
                <a:gd name="T42" fmla="*/ 573 w 1059"/>
                <a:gd name="T43" fmla="*/ 366 h 1585"/>
                <a:gd name="T44" fmla="*/ 358 w 1059"/>
                <a:gd name="T45" fmla="*/ 467 h 1585"/>
                <a:gd name="T46" fmla="*/ 176 w 1059"/>
                <a:gd name="T47" fmla="*/ 492 h 1585"/>
                <a:gd name="T48" fmla="*/ 62 w 1059"/>
                <a:gd name="T49" fmla="*/ 472 h 1585"/>
                <a:gd name="T50" fmla="*/ 359 w 1059"/>
                <a:gd name="T51" fmla="*/ 426 h 1585"/>
                <a:gd name="T52" fmla="*/ 358 w 1059"/>
                <a:gd name="T53" fmla="*/ 460 h 1585"/>
                <a:gd name="T54" fmla="*/ 358 w 1059"/>
                <a:gd name="T55" fmla="*/ 467 h 1585"/>
                <a:gd name="T56" fmla="*/ 278 w 1059"/>
                <a:gd name="T57" fmla="*/ 412 h 1585"/>
                <a:gd name="T58" fmla="*/ 424 w 1059"/>
                <a:gd name="T59" fmla="*/ 108 h 1585"/>
                <a:gd name="T60" fmla="*/ 473 w 1059"/>
                <a:gd name="T61" fmla="*/ 120 h 1585"/>
                <a:gd name="T62" fmla="*/ 361 w 1059"/>
                <a:gd name="T63" fmla="*/ 399 h 1585"/>
                <a:gd name="T64" fmla="*/ 278 w 1059"/>
                <a:gd name="T65" fmla="*/ 412 h 1585"/>
                <a:gd name="T66" fmla="*/ 426 w 1059"/>
                <a:gd name="T67" fmla="*/ 625 h 1585"/>
                <a:gd name="T68" fmla="*/ 362 w 1059"/>
                <a:gd name="T69" fmla="*/ 560 h 1585"/>
                <a:gd name="T70" fmla="*/ 426 w 1059"/>
                <a:gd name="T71" fmla="*/ 496 h 1585"/>
                <a:gd name="T72" fmla="*/ 490 w 1059"/>
                <a:gd name="T73" fmla="*/ 560 h 1585"/>
                <a:gd name="T74" fmla="*/ 426 w 1059"/>
                <a:gd name="T75" fmla="*/ 625 h 1585"/>
                <a:gd name="T76" fmla="*/ 466 w 1059"/>
                <a:gd name="T77" fmla="*/ 451 h 1585"/>
                <a:gd name="T78" fmla="*/ 469 w 1059"/>
                <a:gd name="T79" fmla="*/ 409 h 1585"/>
                <a:gd name="T80" fmla="*/ 751 w 1059"/>
                <a:gd name="T81" fmla="*/ 365 h 1585"/>
                <a:gd name="T82" fmla="*/ 757 w 1059"/>
                <a:gd name="T83" fmla="*/ 406 h 1585"/>
                <a:gd name="T84" fmla="*/ 466 w 1059"/>
                <a:gd name="T85" fmla="*/ 451 h 1585"/>
                <a:gd name="T86" fmla="*/ 839 w 1059"/>
                <a:gd name="T87" fmla="*/ 560 h 1585"/>
                <a:gd name="T88" fmla="*/ 775 w 1059"/>
                <a:gd name="T89" fmla="*/ 496 h 1585"/>
                <a:gd name="T90" fmla="*/ 839 w 1059"/>
                <a:gd name="T91" fmla="*/ 432 h 1585"/>
                <a:gd name="T92" fmla="*/ 903 w 1059"/>
                <a:gd name="T93" fmla="*/ 496 h 1585"/>
                <a:gd name="T94" fmla="*/ 839 w 1059"/>
                <a:gd name="T95" fmla="*/ 560 h 1585"/>
                <a:gd name="T96" fmla="*/ 864 w 1059"/>
                <a:gd name="T97" fmla="*/ 391 h 1585"/>
                <a:gd name="T98" fmla="*/ 856 w 1059"/>
                <a:gd name="T99" fmla="*/ 346 h 1585"/>
                <a:gd name="T100" fmla="*/ 883 w 1059"/>
                <a:gd name="T101" fmla="*/ 341 h 1585"/>
                <a:gd name="T102" fmla="*/ 966 w 1059"/>
                <a:gd name="T103" fmla="*/ 376 h 1585"/>
                <a:gd name="T104" fmla="*/ 864 w 1059"/>
                <a:gd name="T105" fmla="*/ 391 h 1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59" h="1585">
                  <a:moveTo>
                    <a:pt x="1015" y="372"/>
                  </a:moveTo>
                  <a:cubicBezTo>
                    <a:pt x="1015" y="372"/>
                    <a:pt x="1015" y="372"/>
                    <a:pt x="1015" y="372"/>
                  </a:cubicBezTo>
                  <a:cubicBezTo>
                    <a:pt x="885" y="317"/>
                    <a:pt x="885" y="317"/>
                    <a:pt x="885" y="317"/>
                  </a:cubicBezTo>
                  <a:cubicBezTo>
                    <a:pt x="852" y="322"/>
                    <a:pt x="852" y="322"/>
                    <a:pt x="852" y="322"/>
                  </a:cubicBezTo>
                  <a:cubicBezTo>
                    <a:pt x="817" y="165"/>
                    <a:pt x="725" y="56"/>
                    <a:pt x="613" y="56"/>
                  </a:cubicBezTo>
                  <a:cubicBezTo>
                    <a:pt x="599" y="56"/>
                    <a:pt x="587" y="58"/>
                    <a:pt x="574" y="61"/>
                  </a:cubicBezTo>
                  <a:cubicBezTo>
                    <a:pt x="533" y="22"/>
                    <a:pt x="483" y="0"/>
                    <a:pt x="424" y="0"/>
                  </a:cubicBezTo>
                  <a:cubicBezTo>
                    <a:pt x="253" y="0"/>
                    <a:pt x="171" y="227"/>
                    <a:pt x="169" y="429"/>
                  </a:cubicBezTo>
                  <a:cubicBezTo>
                    <a:pt x="14" y="454"/>
                    <a:pt x="14" y="454"/>
                    <a:pt x="14" y="454"/>
                  </a:cubicBezTo>
                  <a:cubicBezTo>
                    <a:pt x="0" y="1495"/>
                    <a:pt x="0" y="1495"/>
                    <a:pt x="0" y="1495"/>
                  </a:cubicBezTo>
                  <a:cubicBezTo>
                    <a:pt x="210" y="1585"/>
                    <a:pt x="210" y="1585"/>
                    <a:pt x="210" y="1585"/>
                  </a:cubicBezTo>
                  <a:cubicBezTo>
                    <a:pt x="1059" y="1453"/>
                    <a:pt x="1059" y="1453"/>
                    <a:pt x="1059" y="1453"/>
                  </a:cubicBezTo>
                  <a:cubicBezTo>
                    <a:pt x="1016" y="372"/>
                    <a:pt x="1016" y="372"/>
                    <a:pt x="1016" y="372"/>
                  </a:cubicBezTo>
                  <a:lnTo>
                    <a:pt x="1015" y="372"/>
                  </a:lnTo>
                  <a:close/>
                  <a:moveTo>
                    <a:pt x="745" y="339"/>
                  </a:moveTo>
                  <a:cubicBezTo>
                    <a:pt x="681" y="349"/>
                    <a:pt x="681" y="349"/>
                    <a:pt x="681" y="349"/>
                  </a:cubicBezTo>
                  <a:cubicBezTo>
                    <a:pt x="678" y="284"/>
                    <a:pt x="666" y="224"/>
                    <a:pt x="647" y="174"/>
                  </a:cubicBezTo>
                  <a:cubicBezTo>
                    <a:pt x="687" y="196"/>
                    <a:pt x="725" y="255"/>
                    <a:pt x="745" y="339"/>
                  </a:cubicBezTo>
                  <a:close/>
                  <a:moveTo>
                    <a:pt x="573" y="366"/>
                  </a:moveTo>
                  <a:cubicBezTo>
                    <a:pt x="472" y="382"/>
                    <a:pt x="472" y="382"/>
                    <a:pt x="472" y="382"/>
                  </a:cubicBezTo>
                  <a:cubicBezTo>
                    <a:pt x="483" y="303"/>
                    <a:pt x="510" y="241"/>
                    <a:pt x="543" y="204"/>
                  </a:cubicBezTo>
                  <a:cubicBezTo>
                    <a:pt x="562" y="247"/>
                    <a:pt x="572" y="303"/>
                    <a:pt x="573" y="366"/>
                  </a:cubicBezTo>
                  <a:close/>
                  <a:moveTo>
                    <a:pt x="358" y="467"/>
                  </a:moveTo>
                  <a:cubicBezTo>
                    <a:pt x="176" y="492"/>
                    <a:pt x="176" y="492"/>
                    <a:pt x="176" y="492"/>
                  </a:cubicBezTo>
                  <a:cubicBezTo>
                    <a:pt x="62" y="472"/>
                    <a:pt x="62" y="472"/>
                    <a:pt x="62" y="472"/>
                  </a:cubicBezTo>
                  <a:cubicBezTo>
                    <a:pt x="359" y="426"/>
                    <a:pt x="359" y="426"/>
                    <a:pt x="359" y="426"/>
                  </a:cubicBezTo>
                  <a:cubicBezTo>
                    <a:pt x="359" y="437"/>
                    <a:pt x="358" y="448"/>
                    <a:pt x="358" y="460"/>
                  </a:cubicBezTo>
                  <a:cubicBezTo>
                    <a:pt x="358" y="462"/>
                    <a:pt x="358" y="464"/>
                    <a:pt x="358" y="467"/>
                  </a:cubicBezTo>
                  <a:close/>
                  <a:moveTo>
                    <a:pt x="278" y="412"/>
                  </a:moveTo>
                  <a:cubicBezTo>
                    <a:pt x="285" y="249"/>
                    <a:pt x="346" y="108"/>
                    <a:pt x="424" y="108"/>
                  </a:cubicBezTo>
                  <a:cubicBezTo>
                    <a:pt x="442" y="108"/>
                    <a:pt x="458" y="113"/>
                    <a:pt x="473" y="120"/>
                  </a:cubicBezTo>
                  <a:cubicBezTo>
                    <a:pt x="413" y="181"/>
                    <a:pt x="372" y="281"/>
                    <a:pt x="361" y="399"/>
                  </a:cubicBezTo>
                  <a:lnTo>
                    <a:pt x="278" y="412"/>
                  </a:lnTo>
                  <a:close/>
                  <a:moveTo>
                    <a:pt x="426" y="625"/>
                  </a:moveTo>
                  <a:cubicBezTo>
                    <a:pt x="391" y="625"/>
                    <a:pt x="362" y="596"/>
                    <a:pt x="362" y="560"/>
                  </a:cubicBezTo>
                  <a:cubicBezTo>
                    <a:pt x="362" y="525"/>
                    <a:pt x="391" y="496"/>
                    <a:pt x="426" y="496"/>
                  </a:cubicBezTo>
                  <a:cubicBezTo>
                    <a:pt x="462" y="496"/>
                    <a:pt x="490" y="525"/>
                    <a:pt x="490" y="560"/>
                  </a:cubicBezTo>
                  <a:cubicBezTo>
                    <a:pt x="490" y="596"/>
                    <a:pt x="462" y="625"/>
                    <a:pt x="426" y="625"/>
                  </a:cubicBezTo>
                  <a:close/>
                  <a:moveTo>
                    <a:pt x="466" y="451"/>
                  </a:moveTo>
                  <a:cubicBezTo>
                    <a:pt x="467" y="437"/>
                    <a:pt x="467" y="423"/>
                    <a:pt x="469" y="409"/>
                  </a:cubicBezTo>
                  <a:cubicBezTo>
                    <a:pt x="751" y="365"/>
                    <a:pt x="751" y="365"/>
                    <a:pt x="751" y="365"/>
                  </a:cubicBezTo>
                  <a:cubicBezTo>
                    <a:pt x="753" y="379"/>
                    <a:pt x="755" y="391"/>
                    <a:pt x="757" y="406"/>
                  </a:cubicBezTo>
                  <a:lnTo>
                    <a:pt x="466" y="451"/>
                  </a:lnTo>
                  <a:close/>
                  <a:moveTo>
                    <a:pt x="839" y="560"/>
                  </a:moveTo>
                  <a:cubicBezTo>
                    <a:pt x="803" y="560"/>
                    <a:pt x="775" y="531"/>
                    <a:pt x="775" y="496"/>
                  </a:cubicBezTo>
                  <a:cubicBezTo>
                    <a:pt x="775" y="460"/>
                    <a:pt x="803" y="432"/>
                    <a:pt x="839" y="432"/>
                  </a:cubicBezTo>
                  <a:cubicBezTo>
                    <a:pt x="874" y="432"/>
                    <a:pt x="903" y="460"/>
                    <a:pt x="903" y="496"/>
                  </a:cubicBezTo>
                  <a:cubicBezTo>
                    <a:pt x="903" y="531"/>
                    <a:pt x="874" y="560"/>
                    <a:pt x="839" y="560"/>
                  </a:cubicBezTo>
                  <a:close/>
                  <a:moveTo>
                    <a:pt x="864" y="391"/>
                  </a:moveTo>
                  <a:cubicBezTo>
                    <a:pt x="862" y="375"/>
                    <a:pt x="858" y="361"/>
                    <a:pt x="856" y="346"/>
                  </a:cubicBezTo>
                  <a:cubicBezTo>
                    <a:pt x="883" y="341"/>
                    <a:pt x="883" y="341"/>
                    <a:pt x="883" y="341"/>
                  </a:cubicBezTo>
                  <a:cubicBezTo>
                    <a:pt x="966" y="376"/>
                    <a:pt x="966" y="376"/>
                    <a:pt x="966" y="376"/>
                  </a:cubicBezTo>
                  <a:lnTo>
                    <a:pt x="864" y="39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dirty="0"/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D3A7E56B-CB57-42E2-B7B2-BC8DB3DC04F5}"/>
              </a:ext>
            </a:extLst>
          </p:cNvPr>
          <p:cNvGrpSpPr/>
          <p:nvPr/>
        </p:nvGrpSpPr>
        <p:grpSpPr>
          <a:xfrm>
            <a:off x="3702237" y="4843358"/>
            <a:ext cx="421847" cy="631641"/>
            <a:chOff x="1735162" y="4843358"/>
            <a:chExt cx="421847" cy="631641"/>
          </a:xfrm>
        </p:grpSpPr>
        <p:sp>
          <p:nvSpPr>
            <p:cNvPr id="177" name="Freeform 12">
              <a:extLst>
                <a:ext uri="{FF2B5EF4-FFF2-40B4-BE49-F238E27FC236}">
                  <a16:creationId xmlns:a16="http://schemas.microsoft.com/office/drawing/2014/main" id="{27CDDDC3-761C-4E79-A0E8-D73F43490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979" y="5012548"/>
              <a:ext cx="117305" cy="27070"/>
            </a:xfrm>
            <a:custGeom>
              <a:avLst/>
              <a:gdLst>
                <a:gd name="T0" fmla="*/ 0 w 297"/>
                <a:gd name="T1" fmla="*/ 46 h 66"/>
                <a:gd name="T2" fmla="*/ 114 w 297"/>
                <a:gd name="T3" fmla="*/ 66 h 66"/>
                <a:gd name="T4" fmla="*/ 296 w 297"/>
                <a:gd name="T5" fmla="*/ 41 h 66"/>
                <a:gd name="T6" fmla="*/ 296 w 297"/>
                <a:gd name="T7" fmla="*/ 34 h 66"/>
                <a:gd name="T8" fmla="*/ 297 w 297"/>
                <a:gd name="T9" fmla="*/ 0 h 66"/>
                <a:gd name="T10" fmla="*/ 0 w 297"/>
                <a:gd name="T11" fmla="*/ 4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7" h="66">
                  <a:moveTo>
                    <a:pt x="0" y="46"/>
                  </a:moveTo>
                  <a:cubicBezTo>
                    <a:pt x="114" y="66"/>
                    <a:pt x="114" y="66"/>
                    <a:pt x="114" y="66"/>
                  </a:cubicBezTo>
                  <a:cubicBezTo>
                    <a:pt x="296" y="41"/>
                    <a:pt x="296" y="41"/>
                    <a:pt x="296" y="41"/>
                  </a:cubicBezTo>
                  <a:cubicBezTo>
                    <a:pt x="296" y="38"/>
                    <a:pt x="296" y="36"/>
                    <a:pt x="296" y="34"/>
                  </a:cubicBezTo>
                  <a:cubicBezTo>
                    <a:pt x="296" y="22"/>
                    <a:pt x="297" y="11"/>
                    <a:pt x="297" y="0"/>
                  </a:cubicBezTo>
                  <a:lnTo>
                    <a:pt x="0" y="46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78" name="Oval 13">
              <a:extLst>
                <a:ext uri="{FF2B5EF4-FFF2-40B4-BE49-F238E27FC236}">
                  <a16:creationId xmlns:a16="http://schemas.microsoft.com/office/drawing/2014/main" id="{6B00340B-71C7-481B-A835-1CC1702C5A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9539" y="5041874"/>
              <a:ext cx="49629" cy="51885"/>
            </a:xfrm>
            <a:prstGeom prst="ellipse">
              <a:avLst/>
            </a:pr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79" name="Freeform 14">
              <a:extLst>
                <a:ext uri="{FF2B5EF4-FFF2-40B4-BE49-F238E27FC236}">
                  <a16:creationId xmlns:a16="http://schemas.microsoft.com/office/drawing/2014/main" id="{FC5D2214-EC3C-45B7-9C90-47FCCC278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145" y="4989989"/>
              <a:ext cx="117305" cy="33839"/>
            </a:xfrm>
            <a:custGeom>
              <a:avLst/>
              <a:gdLst>
                <a:gd name="T0" fmla="*/ 3 w 291"/>
                <a:gd name="T1" fmla="*/ 44 h 86"/>
                <a:gd name="T2" fmla="*/ 0 w 291"/>
                <a:gd name="T3" fmla="*/ 86 h 86"/>
                <a:gd name="T4" fmla="*/ 291 w 291"/>
                <a:gd name="T5" fmla="*/ 41 h 86"/>
                <a:gd name="T6" fmla="*/ 285 w 291"/>
                <a:gd name="T7" fmla="*/ 0 h 86"/>
                <a:gd name="T8" fmla="*/ 3 w 291"/>
                <a:gd name="T9" fmla="*/ 4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1" h="86">
                  <a:moveTo>
                    <a:pt x="3" y="44"/>
                  </a:moveTo>
                  <a:cubicBezTo>
                    <a:pt x="1" y="58"/>
                    <a:pt x="1" y="72"/>
                    <a:pt x="0" y="86"/>
                  </a:cubicBezTo>
                  <a:cubicBezTo>
                    <a:pt x="291" y="41"/>
                    <a:pt x="291" y="41"/>
                    <a:pt x="291" y="41"/>
                  </a:cubicBezTo>
                  <a:cubicBezTo>
                    <a:pt x="289" y="26"/>
                    <a:pt x="287" y="14"/>
                    <a:pt x="285" y="0"/>
                  </a:cubicBezTo>
                  <a:lnTo>
                    <a:pt x="3" y="44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80" name="Freeform 15">
              <a:extLst>
                <a:ext uri="{FF2B5EF4-FFF2-40B4-BE49-F238E27FC236}">
                  <a16:creationId xmlns:a16="http://schemas.microsoft.com/office/drawing/2014/main" id="{A28BD64F-4316-4181-94FA-2A223368D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5800" y="4978710"/>
              <a:ext cx="42863" cy="20304"/>
            </a:xfrm>
            <a:custGeom>
              <a:avLst/>
              <a:gdLst>
                <a:gd name="T0" fmla="*/ 0 w 110"/>
                <a:gd name="T1" fmla="*/ 5 h 50"/>
                <a:gd name="T2" fmla="*/ 8 w 110"/>
                <a:gd name="T3" fmla="*/ 50 h 50"/>
                <a:gd name="T4" fmla="*/ 110 w 110"/>
                <a:gd name="T5" fmla="*/ 35 h 50"/>
                <a:gd name="T6" fmla="*/ 27 w 110"/>
                <a:gd name="T7" fmla="*/ 0 h 50"/>
                <a:gd name="T8" fmla="*/ 0 w 110"/>
                <a:gd name="T9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" h="50">
                  <a:moveTo>
                    <a:pt x="0" y="5"/>
                  </a:moveTo>
                  <a:cubicBezTo>
                    <a:pt x="2" y="20"/>
                    <a:pt x="6" y="34"/>
                    <a:pt x="8" y="50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27" y="0"/>
                    <a:pt x="27" y="0"/>
                    <a:pt x="27" y="0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81" name="Oval 16">
              <a:extLst>
                <a:ext uri="{FF2B5EF4-FFF2-40B4-BE49-F238E27FC236}">
                  <a16:creationId xmlns:a16="http://schemas.microsoft.com/office/drawing/2014/main" id="{755A64AB-E661-4766-AAB4-B7C6349742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4218" y="5014804"/>
              <a:ext cx="49629" cy="51885"/>
            </a:xfrm>
            <a:prstGeom prst="ellipse">
              <a:avLst/>
            </a:prstGeom>
            <a:solidFill>
              <a:srgbClr val="095A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/>
            </a:p>
          </p:txBody>
        </p:sp>
        <p:sp>
          <p:nvSpPr>
            <p:cNvPr id="182" name="Freeform 17">
              <a:extLst>
                <a:ext uri="{FF2B5EF4-FFF2-40B4-BE49-F238E27FC236}">
                  <a16:creationId xmlns:a16="http://schemas.microsoft.com/office/drawing/2014/main" id="{006714FC-A6BE-44F2-986B-29D2FFC09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5162" y="4843358"/>
              <a:ext cx="421847" cy="631641"/>
            </a:xfrm>
            <a:custGeom>
              <a:avLst/>
              <a:gdLst>
                <a:gd name="T0" fmla="*/ 1015 w 1059"/>
                <a:gd name="T1" fmla="*/ 372 h 1585"/>
                <a:gd name="T2" fmla="*/ 1015 w 1059"/>
                <a:gd name="T3" fmla="*/ 372 h 1585"/>
                <a:gd name="T4" fmla="*/ 885 w 1059"/>
                <a:gd name="T5" fmla="*/ 317 h 1585"/>
                <a:gd name="T6" fmla="*/ 852 w 1059"/>
                <a:gd name="T7" fmla="*/ 322 h 1585"/>
                <a:gd name="T8" fmla="*/ 613 w 1059"/>
                <a:gd name="T9" fmla="*/ 56 h 1585"/>
                <a:gd name="T10" fmla="*/ 574 w 1059"/>
                <a:gd name="T11" fmla="*/ 61 h 1585"/>
                <a:gd name="T12" fmla="*/ 424 w 1059"/>
                <a:gd name="T13" fmla="*/ 0 h 1585"/>
                <a:gd name="T14" fmla="*/ 169 w 1059"/>
                <a:gd name="T15" fmla="*/ 429 h 1585"/>
                <a:gd name="T16" fmla="*/ 14 w 1059"/>
                <a:gd name="T17" fmla="*/ 454 h 1585"/>
                <a:gd name="T18" fmla="*/ 0 w 1059"/>
                <a:gd name="T19" fmla="*/ 1495 h 1585"/>
                <a:gd name="T20" fmla="*/ 210 w 1059"/>
                <a:gd name="T21" fmla="*/ 1585 h 1585"/>
                <a:gd name="T22" fmla="*/ 1059 w 1059"/>
                <a:gd name="T23" fmla="*/ 1453 h 1585"/>
                <a:gd name="T24" fmla="*/ 1016 w 1059"/>
                <a:gd name="T25" fmla="*/ 372 h 1585"/>
                <a:gd name="T26" fmla="*/ 1015 w 1059"/>
                <a:gd name="T27" fmla="*/ 372 h 1585"/>
                <a:gd name="T28" fmla="*/ 745 w 1059"/>
                <a:gd name="T29" fmla="*/ 339 h 1585"/>
                <a:gd name="T30" fmla="*/ 681 w 1059"/>
                <a:gd name="T31" fmla="*/ 349 h 1585"/>
                <a:gd name="T32" fmla="*/ 647 w 1059"/>
                <a:gd name="T33" fmla="*/ 174 h 1585"/>
                <a:gd name="T34" fmla="*/ 745 w 1059"/>
                <a:gd name="T35" fmla="*/ 339 h 1585"/>
                <a:gd name="T36" fmla="*/ 573 w 1059"/>
                <a:gd name="T37" fmla="*/ 366 h 1585"/>
                <a:gd name="T38" fmla="*/ 472 w 1059"/>
                <a:gd name="T39" fmla="*/ 382 h 1585"/>
                <a:gd name="T40" fmla="*/ 543 w 1059"/>
                <a:gd name="T41" fmla="*/ 204 h 1585"/>
                <a:gd name="T42" fmla="*/ 573 w 1059"/>
                <a:gd name="T43" fmla="*/ 366 h 1585"/>
                <a:gd name="T44" fmla="*/ 358 w 1059"/>
                <a:gd name="T45" fmla="*/ 467 h 1585"/>
                <a:gd name="T46" fmla="*/ 176 w 1059"/>
                <a:gd name="T47" fmla="*/ 492 h 1585"/>
                <a:gd name="T48" fmla="*/ 62 w 1059"/>
                <a:gd name="T49" fmla="*/ 472 h 1585"/>
                <a:gd name="T50" fmla="*/ 359 w 1059"/>
                <a:gd name="T51" fmla="*/ 426 h 1585"/>
                <a:gd name="T52" fmla="*/ 358 w 1059"/>
                <a:gd name="T53" fmla="*/ 460 h 1585"/>
                <a:gd name="T54" fmla="*/ 358 w 1059"/>
                <a:gd name="T55" fmla="*/ 467 h 1585"/>
                <a:gd name="T56" fmla="*/ 278 w 1059"/>
                <a:gd name="T57" fmla="*/ 412 h 1585"/>
                <a:gd name="T58" fmla="*/ 424 w 1059"/>
                <a:gd name="T59" fmla="*/ 108 h 1585"/>
                <a:gd name="T60" fmla="*/ 473 w 1059"/>
                <a:gd name="T61" fmla="*/ 120 h 1585"/>
                <a:gd name="T62" fmla="*/ 361 w 1059"/>
                <a:gd name="T63" fmla="*/ 399 h 1585"/>
                <a:gd name="T64" fmla="*/ 278 w 1059"/>
                <a:gd name="T65" fmla="*/ 412 h 1585"/>
                <a:gd name="T66" fmla="*/ 426 w 1059"/>
                <a:gd name="T67" fmla="*/ 625 h 1585"/>
                <a:gd name="T68" fmla="*/ 362 w 1059"/>
                <a:gd name="T69" fmla="*/ 560 h 1585"/>
                <a:gd name="T70" fmla="*/ 426 w 1059"/>
                <a:gd name="T71" fmla="*/ 496 h 1585"/>
                <a:gd name="T72" fmla="*/ 490 w 1059"/>
                <a:gd name="T73" fmla="*/ 560 h 1585"/>
                <a:gd name="T74" fmla="*/ 426 w 1059"/>
                <a:gd name="T75" fmla="*/ 625 h 1585"/>
                <a:gd name="T76" fmla="*/ 466 w 1059"/>
                <a:gd name="T77" fmla="*/ 451 h 1585"/>
                <a:gd name="T78" fmla="*/ 469 w 1059"/>
                <a:gd name="T79" fmla="*/ 409 h 1585"/>
                <a:gd name="T80" fmla="*/ 751 w 1059"/>
                <a:gd name="T81" fmla="*/ 365 h 1585"/>
                <a:gd name="T82" fmla="*/ 757 w 1059"/>
                <a:gd name="T83" fmla="*/ 406 h 1585"/>
                <a:gd name="T84" fmla="*/ 466 w 1059"/>
                <a:gd name="T85" fmla="*/ 451 h 1585"/>
                <a:gd name="T86" fmla="*/ 839 w 1059"/>
                <a:gd name="T87" fmla="*/ 560 h 1585"/>
                <a:gd name="T88" fmla="*/ 775 w 1059"/>
                <a:gd name="T89" fmla="*/ 496 h 1585"/>
                <a:gd name="T90" fmla="*/ 839 w 1059"/>
                <a:gd name="T91" fmla="*/ 432 h 1585"/>
                <a:gd name="T92" fmla="*/ 903 w 1059"/>
                <a:gd name="T93" fmla="*/ 496 h 1585"/>
                <a:gd name="T94" fmla="*/ 839 w 1059"/>
                <a:gd name="T95" fmla="*/ 560 h 1585"/>
                <a:gd name="T96" fmla="*/ 864 w 1059"/>
                <a:gd name="T97" fmla="*/ 391 h 1585"/>
                <a:gd name="T98" fmla="*/ 856 w 1059"/>
                <a:gd name="T99" fmla="*/ 346 h 1585"/>
                <a:gd name="T100" fmla="*/ 883 w 1059"/>
                <a:gd name="T101" fmla="*/ 341 h 1585"/>
                <a:gd name="T102" fmla="*/ 966 w 1059"/>
                <a:gd name="T103" fmla="*/ 376 h 1585"/>
                <a:gd name="T104" fmla="*/ 864 w 1059"/>
                <a:gd name="T105" fmla="*/ 391 h 1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59" h="1585">
                  <a:moveTo>
                    <a:pt x="1015" y="372"/>
                  </a:moveTo>
                  <a:cubicBezTo>
                    <a:pt x="1015" y="372"/>
                    <a:pt x="1015" y="372"/>
                    <a:pt x="1015" y="372"/>
                  </a:cubicBezTo>
                  <a:cubicBezTo>
                    <a:pt x="885" y="317"/>
                    <a:pt x="885" y="317"/>
                    <a:pt x="885" y="317"/>
                  </a:cubicBezTo>
                  <a:cubicBezTo>
                    <a:pt x="852" y="322"/>
                    <a:pt x="852" y="322"/>
                    <a:pt x="852" y="322"/>
                  </a:cubicBezTo>
                  <a:cubicBezTo>
                    <a:pt x="817" y="165"/>
                    <a:pt x="725" y="56"/>
                    <a:pt x="613" y="56"/>
                  </a:cubicBezTo>
                  <a:cubicBezTo>
                    <a:pt x="599" y="56"/>
                    <a:pt x="587" y="58"/>
                    <a:pt x="574" y="61"/>
                  </a:cubicBezTo>
                  <a:cubicBezTo>
                    <a:pt x="533" y="22"/>
                    <a:pt x="483" y="0"/>
                    <a:pt x="424" y="0"/>
                  </a:cubicBezTo>
                  <a:cubicBezTo>
                    <a:pt x="253" y="0"/>
                    <a:pt x="171" y="227"/>
                    <a:pt x="169" y="429"/>
                  </a:cubicBezTo>
                  <a:cubicBezTo>
                    <a:pt x="14" y="454"/>
                    <a:pt x="14" y="454"/>
                    <a:pt x="14" y="454"/>
                  </a:cubicBezTo>
                  <a:cubicBezTo>
                    <a:pt x="0" y="1495"/>
                    <a:pt x="0" y="1495"/>
                    <a:pt x="0" y="1495"/>
                  </a:cubicBezTo>
                  <a:cubicBezTo>
                    <a:pt x="210" y="1585"/>
                    <a:pt x="210" y="1585"/>
                    <a:pt x="210" y="1585"/>
                  </a:cubicBezTo>
                  <a:cubicBezTo>
                    <a:pt x="1059" y="1453"/>
                    <a:pt x="1059" y="1453"/>
                    <a:pt x="1059" y="1453"/>
                  </a:cubicBezTo>
                  <a:cubicBezTo>
                    <a:pt x="1016" y="372"/>
                    <a:pt x="1016" y="372"/>
                    <a:pt x="1016" y="372"/>
                  </a:cubicBezTo>
                  <a:lnTo>
                    <a:pt x="1015" y="372"/>
                  </a:lnTo>
                  <a:close/>
                  <a:moveTo>
                    <a:pt x="745" y="339"/>
                  </a:moveTo>
                  <a:cubicBezTo>
                    <a:pt x="681" y="349"/>
                    <a:pt x="681" y="349"/>
                    <a:pt x="681" y="349"/>
                  </a:cubicBezTo>
                  <a:cubicBezTo>
                    <a:pt x="678" y="284"/>
                    <a:pt x="666" y="224"/>
                    <a:pt x="647" y="174"/>
                  </a:cubicBezTo>
                  <a:cubicBezTo>
                    <a:pt x="687" y="196"/>
                    <a:pt x="725" y="255"/>
                    <a:pt x="745" y="339"/>
                  </a:cubicBezTo>
                  <a:close/>
                  <a:moveTo>
                    <a:pt x="573" y="366"/>
                  </a:moveTo>
                  <a:cubicBezTo>
                    <a:pt x="472" y="382"/>
                    <a:pt x="472" y="382"/>
                    <a:pt x="472" y="382"/>
                  </a:cubicBezTo>
                  <a:cubicBezTo>
                    <a:pt x="483" y="303"/>
                    <a:pt x="510" y="241"/>
                    <a:pt x="543" y="204"/>
                  </a:cubicBezTo>
                  <a:cubicBezTo>
                    <a:pt x="562" y="247"/>
                    <a:pt x="572" y="303"/>
                    <a:pt x="573" y="366"/>
                  </a:cubicBezTo>
                  <a:close/>
                  <a:moveTo>
                    <a:pt x="358" y="467"/>
                  </a:moveTo>
                  <a:cubicBezTo>
                    <a:pt x="176" y="492"/>
                    <a:pt x="176" y="492"/>
                    <a:pt x="176" y="492"/>
                  </a:cubicBezTo>
                  <a:cubicBezTo>
                    <a:pt x="62" y="472"/>
                    <a:pt x="62" y="472"/>
                    <a:pt x="62" y="472"/>
                  </a:cubicBezTo>
                  <a:cubicBezTo>
                    <a:pt x="359" y="426"/>
                    <a:pt x="359" y="426"/>
                    <a:pt x="359" y="426"/>
                  </a:cubicBezTo>
                  <a:cubicBezTo>
                    <a:pt x="359" y="437"/>
                    <a:pt x="358" y="448"/>
                    <a:pt x="358" y="460"/>
                  </a:cubicBezTo>
                  <a:cubicBezTo>
                    <a:pt x="358" y="462"/>
                    <a:pt x="358" y="464"/>
                    <a:pt x="358" y="467"/>
                  </a:cubicBezTo>
                  <a:close/>
                  <a:moveTo>
                    <a:pt x="278" y="412"/>
                  </a:moveTo>
                  <a:cubicBezTo>
                    <a:pt x="285" y="249"/>
                    <a:pt x="346" y="108"/>
                    <a:pt x="424" y="108"/>
                  </a:cubicBezTo>
                  <a:cubicBezTo>
                    <a:pt x="442" y="108"/>
                    <a:pt x="458" y="113"/>
                    <a:pt x="473" y="120"/>
                  </a:cubicBezTo>
                  <a:cubicBezTo>
                    <a:pt x="413" y="181"/>
                    <a:pt x="372" y="281"/>
                    <a:pt x="361" y="399"/>
                  </a:cubicBezTo>
                  <a:lnTo>
                    <a:pt x="278" y="412"/>
                  </a:lnTo>
                  <a:close/>
                  <a:moveTo>
                    <a:pt x="426" y="625"/>
                  </a:moveTo>
                  <a:cubicBezTo>
                    <a:pt x="391" y="625"/>
                    <a:pt x="362" y="596"/>
                    <a:pt x="362" y="560"/>
                  </a:cubicBezTo>
                  <a:cubicBezTo>
                    <a:pt x="362" y="525"/>
                    <a:pt x="391" y="496"/>
                    <a:pt x="426" y="496"/>
                  </a:cubicBezTo>
                  <a:cubicBezTo>
                    <a:pt x="462" y="496"/>
                    <a:pt x="490" y="525"/>
                    <a:pt x="490" y="560"/>
                  </a:cubicBezTo>
                  <a:cubicBezTo>
                    <a:pt x="490" y="596"/>
                    <a:pt x="462" y="625"/>
                    <a:pt x="426" y="625"/>
                  </a:cubicBezTo>
                  <a:close/>
                  <a:moveTo>
                    <a:pt x="466" y="451"/>
                  </a:moveTo>
                  <a:cubicBezTo>
                    <a:pt x="467" y="437"/>
                    <a:pt x="467" y="423"/>
                    <a:pt x="469" y="409"/>
                  </a:cubicBezTo>
                  <a:cubicBezTo>
                    <a:pt x="751" y="365"/>
                    <a:pt x="751" y="365"/>
                    <a:pt x="751" y="365"/>
                  </a:cubicBezTo>
                  <a:cubicBezTo>
                    <a:pt x="753" y="379"/>
                    <a:pt x="755" y="391"/>
                    <a:pt x="757" y="406"/>
                  </a:cubicBezTo>
                  <a:lnTo>
                    <a:pt x="466" y="451"/>
                  </a:lnTo>
                  <a:close/>
                  <a:moveTo>
                    <a:pt x="839" y="560"/>
                  </a:moveTo>
                  <a:cubicBezTo>
                    <a:pt x="803" y="560"/>
                    <a:pt x="775" y="531"/>
                    <a:pt x="775" y="496"/>
                  </a:cubicBezTo>
                  <a:cubicBezTo>
                    <a:pt x="775" y="460"/>
                    <a:pt x="803" y="432"/>
                    <a:pt x="839" y="432"/>
                  </a:cubicBezTo>
                  <a:cubicBezTo>
                    <a:pt x="874" y="432"/>
                    <a:pt x="903" y="460"/>
                    <a:pt x="903" y="496"/>
                  </a:cubicBezTo>
                  <a:cubicBezTo>
                    <a:pt x="903" y="531"/>
                    <a:pt x="874" y="560"/>
                    <a:pt x="839" y="560"/>
                  </a:cubicBezTo>
                  <a:close/>
                  <a:moveTo>
                    <a:pt x="864" y="391"/>
                  </a:moveTo>
                  <a:cubicBezTo>
                    <a:pt x="862" y="375"/>
                    <a:pt x="858" y="361"/>
                    <a:pt x="856" y="346"/>
                  </a:cubicBezTo>
                  <a:cubicBezTo>
                    <a:pt x="883" y="341"/>
                    <a:pt x="883" y="341"/>
                    <a:pt x="883" y="341"/>
                  </a:cubicBezTo>
                  <a:cubicBezTo>
                    <a:pt x="966" y="376"/>
                    <a:pt x="966" y="376"/>
                    <a:pt x="966" y="376"/>
                  </a:cubicBezTo>
                  <a:lnTo>
                    <a:pt x="864" y="39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800" dirty="0"/>
            </a:p>
          </p:txBody>
        </p:sp>
      </p:grpSp>
      <p:pic>
        <p:nvPicPr>
          <p:cNvPr id="120" name="Picture 119"/>
          <p:cNvPicPr>
            <a:picLocks noChangeAspect="1"/>
          </p:cNvPicPr>
          <p:nvPr/>
        </p:nvPicPr>
        <p:blipFill>
          <a:blip r:embed="rId8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6430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6034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7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A7208D7-87A1-47C2-B582-2F76420438A7}"/>
              </a:ext>
            </a:extLst>
          </p:cNvPr>
          <p:cNvPicPr>
            <a:picLocks/>
          </p:cNvPicPr>
          <p:nvPr/>
        </p:nvPicPr>
        <p:blipFill rotWithShape="1">
          <a:blip r:embed="rId7">
            <a:grayscl/>
            <a:extLst/>
          </a:blip>
          <a:srcRect l="4988" r="4988"/>
          <a:stretch/>
        </p:blipFill>
        <p:spPr>
          <a:xfrm>
            <a:off x="0" y="0"/>
            <a:ext cx="1218882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26870EE9-C535-4502-96DC-6E843C14A397}"/>
              </a:ext>
            </a:extLst>
          </p:cNvPr>
          <p:cNvSpPr/>
          <p:nvPr/>
        </p:nvSpPr>
        <p:spPr>
          <a:xfrm>
            <a:off x="0" y="-12699"/>
            <a:ext cx="12188825" cy="6870699"/>
          </a:xfrm>
          <a:prstGeom prst="rect">
            <a:avLst/>
          </a:prstGeom>
          <a:solidFill>
            <a:schemeClr val="tx1">
              <a:lumMod val="50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A270A67-6AF1-4EDB-8CA7-0EB8A9421B40}"/>
              </a:ext>
            </a:extLst>
          </p:cNvPr>
          <p:cNvSpPr txBox="1"/>
          <p:nvPr/>
        </p:nvSpPr>
        <p:spPr>
          <a:xfrm>
            <a:off x="293379" y="557831"/>
            <a:ext cx="9353188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52DFA12-A0AE-47D4-A93F-8F04B871B8BE}"/>
              </a:ext>
            </a:extLst>
          </p:cNvPr>
          <p:cNvSpPr>
            <a:spLocks/>
          </p:cNvSpPr>
          <p:nvPr/>
        </p:nvSpPr>
        <p:spPr>
          <a:xfrm>
            <a:off x="-98323" y="301819"/>
            <a:ext cx="10461522" cy="1004467"/>
          </a:xfrm>
          <a:custGeom>
            <a:avLst/>
            <a:gdLst>
              <a:gd name="connsiteX0" fmla="*/ 0 w 10461522"/>
              <a:gd name="connsiteY0" fmla="*/ 0 h 1004467"/>
              <a:gd name="connsiteX1" fmla="*/ 10461522 w 10461522"/>
              <a:gd name="connsiteY1" fmla="*/ 0 h 1004467"/>
              <a:gd name="connsiteX2" fmla="*/ 10001084 w 10461522"/>
              <a:gd name="connsiteY2" fmla="*/ 1004467 h 1004467"/>
              <a:gd name="connsiteX3" fmla="*/ 0 w 10461522"/>
              <a:gd name="connsiteY3" fmla="*/ 1004467 h 1004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61522" h="1004467">
                <a:moveTo>
                  <a:pt x="0" y="0"/>
                </a:moveTo>
                <a:lnTo>
                  <a:pt x="10461522" y="0"/>
                </a:lnTo>
                <a:lnTo>
                  <a:pt x="10001084" y="1004467"/>
                </a:lnTo>
                <a:lnTo>
                  <a:pt x="0" y="1004467"/>
                </a:lnTo>
                <a:close/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09265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93392" y="5580247"/>
            <a:ext cx="104020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marketplace allows for more opportunities for buyers and sellers to connect and transact how they want and when they want. </a:t>
            </a:r>
            <a:endParaRPr lang="en-US" sz="2400" b="1" dirty="0">
              <a:solidFill>
                <a:schemeClr val="bg1"/>
              </a:solidFill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287C977-1505-4CD8-8BAE-43957AA335F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2" b="-1334"/>
          <a:stretch/>
        </p:blipFill>
        <p:spPr>
          <a:xfrm>
            <a:off x="2310198" y="3013838"/>
            <a:ext cx="914400" cy="9144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0FA4BC65-1463-453E-BD1A-C10081FA3B82}"/>
              </a:ext>
            </a:extLst>
          </p:cNvPr>
          <p:cNvSpPr/>
          <p:nvPr/>
        </p:nvSpPr>
        <p:spPr>
          <a:xfrm>
            <a:off x="1167198" y="1870838"/>
            <a:ext cx="3200400" cy="320040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3ECD07C-B459-4036-A6DC-37512E7FD11E}"/>
              </a:ext>
            </a:extLst>
          </p:cNvPr>
          <p:cNvSpPr/>
          <p:nvPr/>
        </p:nvSpPr>
        <p:spPr>
          <a:xfrm>
            <a:off x="2306021" y="1464789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796B324-59B8-49D5-9F8D-D7349C471486}"/>
              </a:ext>
            </a:extLst>
          </p:cNvPr>
          <p:cNvSpPr/>
          <p:nvPr/>
        </p:nvSpPr>
        <p:spPr>
          <a:xfrm>
            <a:off x="1209008" y="1952873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3CC355EC-F950-4866-B799-7E0C30631766}"/>
              </a:ext>
            </a:extLst>
          </p:cNvPr>
          <p:cNvSpPr/>
          <p:nvPr/>
        </p:nvSpPr>
        <p:spPr>
          <a:xfrm>
            <a:off x="780309" y="3006040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A697A3C-9205-47F9-95B0-4F8F812334CD}"/>
              </a:ext>
            </a:extLst>
          </p:cNvPr>
          <p:cNvSpPr/>
          <p:nvPr/>
        </p:nvSpPr>
        <p:spPr>
          <a:xfrm>
            <a:off x="1187319" y="4047847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35B03CC-FD90-4CD3-96FB-268534B721AA}"/>
              </a:ext>
            </a:extLst>
          </p:cNvPr>
          <p:cNvSpPr/>
          <p:nvPr/>
        </p:nvSpPr>
        <p:spPr>
          <a:xfrm>
            <a:off x="2306021" y="4562887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249E205C-E425-43BB-BECF-EB74E70A1A8F}"/>
              </a:ext>
            </a:extLst>
          </p:cNvPr>
          <p:cNvSpPr/>
          <p:nvPr/>
        </p:nvSpPr>
        <p:spPr>
          <a:xfrm>
            <a:off x="3426584" y="4062130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0F6611B-5CF2-4CAA-98EC-7E99B0DD660D}"/>
              </a:ext>
            </a:extLst>
          </p:cNvPr>
          <p:cNvSpPr/>
          <p:nvPr/>
        </p:nvSpPr>
        <p:spPr>
          <a:xfrm>
            <a:off x="3840087" y="3001815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894D899-4123-40B1-80AF-B6818F7F2421}"/>
              </a:ext>
            </a:extLst>
          </p:cNvPr>
          <p:cNvSpPr/>
          <p:nvPr/>
        </p:nvSpPr>
        <p:spPr>
          <a:xfrm>
            <a:off x="3376234" y="1905248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rrow: Up-Down 27">
            <a:extLst>
              <a:ext uri="{FF2B5EF4-FFF2-40B4-BE49-F238E27FC236}">
                <a16:creationId xmlns:a16="http://schemas.microsoft.com/office/drawing/2014/main" id="{54492D85-1A17-488A-80F6-DBC9D974639E}"/>
              </a:ext>
            </a:extLst>
          </p:cNvPr>
          <p:cNvSpPr/>
          <p:nvPr/>
        </p:nvSpPr>
        <p:spPr>
          <a:xfrm>
            <a:off x="2691999" y="2425014"/>
            <a:ext cx="109209" cy="562764"/>
          </a:xfrm>
          <a:prstGeom prst="up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Arrow: Up-Down 30">
            <a:extLst>
              <a:ext uri="{FF2B5EF4-FFF2-40B4-BE49-F238E27FC236}">
                <a16:creationId xmlns:a16="http://schemas.microsoft.com/office/drawing/2014/main" id="{D2C351AA-4715-4448-BB61-6EA8A3DBA213}"/>
              </a:ext>
            </a:extLst>
          </p:cNvPr>
          <p:cNvSpPr/>
          <p:nvPr/>
        </p:nvSpPr>
        <p:spPr>
          <a:xfrm rot="5400000">
            <a:off x="3458265" y="3178226"/>
            <a:ext cx="109209" cy="562764"/>
          </a:xfrm>
          <a:prstGeom prst="up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Arrow: Up-Down 31">
            <a:extLst>
              <a:ext uri="{FF2B5EF4-FFF2-40B4-BE49-F238E27FC236}">
                <a16:creationId xmlns:a16="http://schemas.microsoft.com/office/drawing/2014/main" id="{E56696FF-CA87-4288-A3AB-C1E3A0B767F6}"/>
              </a:ext>
            </a:extLst>
          </p:cNvPr>
          <p:cNvSpPr/>
          <p:nvPr/>
        </p:nvSpPr>
        <p:spPr>
          <a:xfrm rot="2914322">
            <a:off x="3225313" y="2611318"/>
            <a:ext cx="109209" cy="562764"/>
          </a:xfrm>
          <a:prstGeom prst="up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Arrow: Up-Down 32">
            <a:extLst>
              <a:ext uri="{FF2B5EF4-FFF2-40B4-BE49-F238E27FC236}">
                <a16:creationId xmlns:a16="http://schemas.microsoft.com/office/drawing/2014/main" id="{F861D909-B241-4DBC-80E9-2318CBCDC088}"/>
              </a:ext>
            </a:extLst>
          </p:cNvPr>
          <p:cNvSpPr/>
          <p:nvPr/>
        </p:nvSpPr>
        <p:spPr>
          <a:xfrm>
            <a:off x="2691999" y="3949151"/>
            <a:ext cx="109209" cy="562764"/>
          </a:xfrm>
          <a:prstGeom prst="up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Arrow: Up-Down 33">
            <a:extLst>
              <a:ext uri="{FF2B5EF4-FFF2-40B4-BE49-F238E27FC236}">
                <a16:creationId xmlns:a16="http://schemas.microsoft.com/office/drawing/2014/main" id="{27C88DB4-13A5-4B8C-9FB4-E5E41C78E24F}"/>
              </a:ext>
            </a:extLst>
          </p:cNvPr>
          <p:cNvSpPr/>
          <p:nvPr/>
        </p:nvSpPr>
        <p:spPr>
          <a:xfrm rot="18695186">
            <a:off x="3277640" y="3709541"/>
            <a:ext cx="109209" cy="562764"/>
          </a:xfrm>
          <a:prstGeom prst="up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Arrow: Up-Down 34">
            <a:extLst>
              <a:ext uri="{FF2B5EF4-FFF2-40B4-BE49-F238E27FC236}">
                <a16:creationId xmlns:a16="http://schemas.microsoft.com/office/drawing/2014/main" id="{77C8C5DF-19B0-40CE-8EA8-BCC0C0AD523F}"/>
              </a:ext>
            </a:extLst>
          </p:cNvPr>
          <p:cNvSpPr/>
          <p:nvPr/>
        </p:nvSpPr>
        <p:spPr>
          <a:xfrm rot="16200000" flipH="1">
            <a:off x="1945072" y="3178226"/>
            <a:ext cx="109209" cy="562764"/>
          </a:xfrm>
          <a:prstGeom prst="up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Arrow: Up-Down 35">
            <a:extLst>
              <a:ext uri="{FF2B5EF4-FFF2-40B4-BE49-F238E27FC236}">
                <a16:creationId xmlns:a16="http://schemas.microsoft.com/office/drawing/2014/main" id="{1D848EBB-7466-41B3-8192-10E77DB17647}"/>
              </a:ext>
            </a:extLst>
          </p:cNvPr>
          <p:cNvSpPr/>
          <p:nvPr/>
        </p:nvSpPr>
        <p:spPr>
          <a:xfrm rot="18685678" flipH="1">
            <a:off x="2137067" y="2673758"/>
            <a:ext cx="109209" cy="562764"/>
          </a:xfrm>
          <a:prstGeom prst="up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Arrow: Up-Down 36">
            <a:extLst>
              <a:ext uri="{FF2B5EF4-FFF2-40B4-BE49-F238E27FC236}">
                <a16:creationId xmlns:a16="http://schemas.microsoft.com/office/drawing/2014/main" id="{203ABE3B-885E-459D-87AE-F40A5A44200C}"/>
              </a:ext>
            </a:extLst>
          </p:cNvPr>
          <p:cNvSpPr/>
          <p:nvPr/>
        </p:nvSpPr>
        <p:spPr>
          <a:xfrm rot="2904814" flipH="1">
            <a:off x="2154014" y="3711895"/>
            <a:ext cx="109209" cy="562764"/>
          </a:xfrm>
          <a:prstGeom prst="up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ABEA1FD4-7418-4243-B625-E60DB8837B7D}"/>
              </a:ext>
            </a:extLst>
          </p:cNvPr>
          <p:cNvSpPr/>
          <p:nvPr/>
        </p:nvSpPr>
        <p:spPr>
          <a:xfrm>
            <a:off x="5178966" y="2522381"/>
            <a:ext cx="2388770" cy="1897314"/>
          </a:xfrm>
          <a:prstGeom prst="rightArrow">
            <a:avLst/>
          </a:prstGeom>
          <a:solidFill>
            <a:schemeClr val="accent2">
              <a:lumMod val="60000"/>
              <a:lumOff val="40000"/>
              <a:alpha val="3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AFCA1DA-8C5A-4A71-917A-6AA0D43E907B}"/>
              </a:ext>
            </a:extLst>
          </p:cNvPr>
          <p:cNvSpPr txBox="1"/>
          <p:nvPr/>
        </p:nvSpPr>
        <p:spPr>
          <a:xfrm>
            <a:off x="5178966" y="3009373"/>
            <a:ext cx="1905660" cy="923330"/>
          </a:xfrm>
          <a:prstGeom prst="rect">
            <a:avLst/>
          </a:prstGeom>
          <a:solidFill>
            <a:schemeClr val="accent2">
              <a:lumMod val="60000"/>
              <a:lumOff val="40000"/>
              <a:alpha val="4000"/>
            </a:schemeClr>
          </a:solidFill>
        </p:spPr>
        <p:txBody>
          <a:bodyPr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algn="ctr"/>
            <a:r>
              <a:rPr lang="en-US" dirty="0"/>
              <a:t>Seamless</a:t>
            </a:r>
          </a:p>
          <a:p>
            <a:pPr algn="ctr"/>
            <a:r>
              <a:rPr lang="en-US" dirty="0"/>
              <a:t>delivery across all channel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39785BE-DB1B-4EB6-A6E4-DC7E1F5664D4}"/>
              </a:ext>
            </a:extLst>
          </p:cNvPr>
          <p:cNvSpPr txBox="1"/>
          <p:nvPr/>
        </p:nvSpPr>
        <p:spPr>
          <a:xfrm>
            <a:off x="7992215" y="1809045"/>
            <a:ext cx="3416300" cy="33239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ustomers see one brand and multiple touch-points operating togeth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tailers coordinate and operate in a differentiated manner across channels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983F0A1F-A709-4036-9B9E-AA1E69562E9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2623" y="4747084"/>
            <a:ext cx="693944" cy="48928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087151AA-F827-4F68-995E-55D5E88AE387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89886" y="4126522"/>
            <a:ext cx="684854" cy="684854"/>
          </a:xfrm>
          <a:custGeom>
            <a:avLst/>
            <a:gdLst>
              <a:gd name="connsiteX0" fmla="*/ 98290 w 684854"/>
              <a:gd name="connsiteY0" fmla="*/ 0 h 684854"/>
              <a:gd name="connsiteX1" fmla="*/ 610976 w 684854"/>
              <a:gd name="connsiteY1" fmla="*/ 0 h 684854"/>
              <a:gd name="connsiteX2" fmla="*/ 677922 w 684854"/>
              <a:gd name="connsiteY2" fmla="*/ 55236 h 684854"/>
              <a:gd name="connsiteX3" fmla="*/ 684854 w 684854"/>
              <a:gd name="connsiteY3" fmla="*/ 63637 h 684854"/>
              <a:gd name="connsiteX4" fmla="*/ 684854 w 684854"/>
              <a:gd name="connsiteY4" fmla="*/ 684854 h 684854"/>
              <a:gd name="connsiteX5" fmla="*/ 17350 w 684854"/>
              <a:gd name="connsiteY5" fmla="*/ 684854 h 684854"/>
              <a:gd name="connsiteX6" fmla="*/ 0 w 684854"/>
              <a:gd name="connsiteY6" fmla="*/ 663826 h 684854"/>
              <a:gd name="connsiteX7" fmla="*/ 0 w 684854"/>
              <a:gd name="connsiteY7" fmla="*/ 93225 h 684854"/>
              <a:gd name="connsiteX8" fmla="*/ 31344 w 684854"/>
              <a:gd name="connsiteY8" fmla="*/ 55236 h 6848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4854" h="684854">
                <a:moveTo>
                  <a:pt x="98290" y="0"/>
                </a:moveTo>
                <a:lnTo>
                  <a:pt x="610976" y="0"/>
                </a:lnTo>
                <a:lnTo>
                  <a:pt x="677922" y="55236"/>
                </a:lnTo>
                <a:lnTo>
                  <a:pt x="684854" y="63637"/>
                </a:lnTo>
                <a:lnTo>
                  <a:pt x="684854" y="684854"/>
                </a:lnTo>
                <a:lnTo>
                  <a:pt x="17350" y="684854"/>
                </a:lnTo>
                <a:lnTo>
                  <a:pt x="0" y="663826"/>
                </a:lnTo>
                <a:lnTo>
                  <a:pt x="0" y="93225"/>
                </a:lnTo>
                <a:lnTo>
                  <a:pt x="31344" y="55236"/>
                </a:lnTo>
                <a:close/>
              </a:path>
            </a:pathLst>
          </a:cu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357FCB8D-359E-48C5-A053-5EEBB7C84B7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65386" y="1585970"/>
            <a:ext cx="562433" cy="562433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A02F8083-D348-40E5-9736-36F22A1F98A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1494" y="2032008"/>
            <a:ext cx="619456" cy="61945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2711D87C-94B4-49BF-90BB-4EE20E7BFF07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0140" y="4211283"/>
            <a:ext cx="662196" cy="448820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BEABEBB6-E0F1-4028-9234-5D63A1979E9D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768" y="3137912"/>
            <a:ext cx="599693" cy="599693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7A21732D-5128-4DA7-B299-F215DCAC8349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4335" y="2106997"/>
            <a:ext cx="649453" cy="487089"/>
          </a:xfrm>
          <a:prstGeom prst="rect">
            <a:avLst/>
          </a:prstGeom>
        </p:spPr>
      </p:pic>
      <p:pic>
        <p:nvPicPr>
          <p:cNvPr id="119894" name="Picture 86" descr="Image result for home appliances">
            <a:extLst>
              <a:ext uri="{FF2B5EF4-FFF2-40B4-BE49-F238E27FC236}">
                <a16:creationId xmlns:a16="http://schemas.microsoft.com/office/drawing/2014/main" id="{ED872829-14D5-4322-93BF-1FF2AB37A2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4060" y="3269813"/>
            <a:ext cx="788621" cy="281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3C043C85-77F5-4AAD-B8EA-7811E4E8B211}"/>
              </a:ext>
            </a:extLst>
          </p:cNvPr>
          <p:cNvSpPr txBox="1"/>
          <p:nvPr/>
        </p:nvSpPr>
        <p:spPr>
          <a:xfrm>
            <a:off x="1480718" y="2578046"/>
            <a:ext cx="3709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mart-phones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9777F3FD-2907-41FB-AAED-CBD1D168743B}"/>
              </a:ext>
            </a:extLst>
          </p:cNvPr>
          <p:cNvSpPr txBox="1"/>
          <p:nvPr/>
        </p:nvSpPr>
        <p:spPr>
          <a:xfrm>
            <a:off x="2574104" y="2121747"/>
            <a:ext cx="370981" cy="247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-store kiosks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3FCD6EFF-1204-4740-A36A-523E6C1CDD29}"/>
              </a:ext>
            </a:extLst>
          </p:cNvPr>
          <p:cNvSpPr txBox="1"/>
          <p:nvPr/>
        </p:nvSpPr>
        <p:spPr>
          <a:xfrm>
            <a:off x="3593177" y="2589339"/>
            <a:ext cx="480514" cy="131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V/adverts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C58FD91-A742-4B32-975B-A412B10CC599}"/>
              </a:ext>
            </a:extLst>
          </p:cNvPr>
          <p:cNvSpPr txBox="1"/>
          <p:nvPr/>
        </p:nvSpPr>
        <p:spPr>
          <a:xfrm>
            <a:off x="4105143" y="3583514"/>
            <a:ext cx="3709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ick-up point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3969E224-8103-448F-B438-B9927744425C}"/>
              </a:ext>
            </a:extLst>
          </p:cNvPr>
          <p:cNvSpPr txBox="1"/>
          <p:nvPr/>
        </p:nvSpPr>
        <p:spPr>
          <a:xfrm>
            <a:off x="3702893" y="4670362"/>
            <a:ext cx="3709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vents/pop-up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2FF5D26-9D6D-4E75-B103-F76F8E2C2F1B}"/>
              </a:ext>
            </a:extLst>
          </p:cNvPr>
          <p:cNvSpPr txBox="1"/>
          <p:nvPr/>
        </p:nvSpPr>
        <p:spPr>
          <a:xfrm>
            <a:off x="2574103" y="5275236"/>
            <a:ext cx="37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ocial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C94356B-ED0E-465B-AA63-26954A930C85}"/>
              </a:ext>
            </a:extLst>
          </p:cNvPr>
          <p:cNvSpPr txBox="1"/>
          <p:nvPr/>
        </p:nvSpPr>
        <p:spPr>
          <a:xfrm>
            <a:off x="1452707" y="4749820"/>
            <a:ext cx="37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tore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40E552F4-DF92-4436-BF36-2C6ED4A541EF}"/>
              </a:ext>
            </a:extLst>
          </p:cNvPr>
          <p:cNvSpPr txBox="1"/>
          <p:nvPr/>
        </p:nvSpPr>
        <p:spPr>
          <a:xfrm>
            <a:off x="1008084" y="3667732"/>
            <a:ext cx="3709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eb</a:t>
            </a:r>
          </a:p>
        </p:txBody>
      </p:sp>
      <p:sp>
        <p:nvSpPr>
          <p:cNvPr id="46" name="TextBox 45">
            <a:extLst/>
          </p:cNvPr>
          <p:cNvSpPr txBox="1"/>
          <p:nvPr/>
        </p:nvSpPr>
        <p:spPr>
          <a:xfrm>
            <a:off x="293379" y="557831"/>
            <a:ext cx="10772823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sz="3200" b="1" dirty="0">
                <a:latin typeface="Calibri" panose="020F0502020204030204" pitchFamily="34" charset="0"/>
                <a:cs typeface="Calibri" panose="020F0502020204030204" pitchFamily="34" charset="0"/>
              </a:rPr>
              <a:t>Marketplace</a:t>
            </a: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17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5888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107" name="Picture 107"/>
          <p:cNvPicPr>
            <a:picLocks noChangeAspect="1" noChangeArrowheads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7747" y="0"/>
            <a:ext cx="122707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2860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297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EDFB1D6-69FA-41A4-B8B4-9BDDF412734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679482E-DC23-4E22-84D3-63089DBCC923}"/>
              </a:ext>
            </a:extLst>
          </p:cNvPr>
          <p:cNvSpPr/>
          <p:nvPr/>
        </p:nvSpPr>
        <p:spPr>
          <a:xfrm>
            <a:off x="-37748" y="-48147"/>
            <a:ext cx="12270775" cy="6858000"/>
          </a:xfrm>
          <a:prstGeom prst="rect">
            <a:avLst/>
          </a:prstGeom>
          <a:solidFill>
            <a:schemeClr val="tx1">
              <a:lumMod val="5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7" name="Freeform 96"/>
          <p:cNvSpPr/>
          <p:nvPr/>
        </p:nvSpPr>
        <p:spPr>
          <a:xfrm>
            <a:off x="-5875" y="-1"/>
            <a:ext cx="11283475" cy="6929463"/>
          </a:xfrm>
          <a:custGeom>
            <a:avLst/>
            <a:gdLst>
              <a:gd name="connsiteX0" fmla="*/ 0 w 11327363"/>
              <a:gd name="connsiteY0" fmla="*/ 0 h 6960637"/>
              <a:gd name="connsiteX1" fmla="*/ 0 w 11327363"/>
              <a:gd name="connsiteY1" fmla="*/ 6960637 h 6960637"/>
              <a:gd name="connsiteX2" fmla="*/ 8378890 w 11327363"/>
              <a:gd name="connsiteY2" fmla="*/ 6923314 h 6960637"/>
              <a:gd name="connsiteX3" fmla="*/ 11327363 w 11327363"/>
              <a:gd name="connsiteY3" fmla="*/ 18661 h 6960637"/>
              <a:gd name="connsiteX4" fmla="*/ 0 w 11327363"/>
              <a:gd name="connsiteY4" fmla="*/ 0 h 6960637"/>
              <a:gd name="connsiteX0" fmla="*/ 0 w 11327363"/>
              <a:gd name="connsiteY0" fmla="*/ 0 h 6961590"/>
              <a:gd name="connsiteX1" fmla="*/ 0 w 11327363"/>
              <a:gd name="connsiteY1" fmla="*/ 6960637 h 6961590"/>
              <a:gd name="connsiteX2" fmla="*/ 8353391 w 11327363"/>
              <a:gd name="connsiteY2" fmla="*/ 6961590 h 6961590"/>
              <a:gd name="connsiteX3" fmla="*/ 11327363 w 11327363"/>
              <a:gd name="connsiteY3" fmla="*/ 18661 h 6961590"/>
              <a:gd name="connsiteX4" fmla="*/ 0 w 11327363"/>
              <a:gd name="connsiteY4" fmla="*/ 0 h 6961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27363" h="6961590">
                <a:moveTo>
                  <a:pt x="0" y="0"/>
                </a:moveTo>
                <a:lnTo>
                  <a:pt x="0" y="6960637"/>
                </a:lnTo>
                <a:lnTo>
                  <a:pt x="8353391" y="6961590"/>
                </a:lnTo>
                <a:lnTo>
                  <a:pt x="11327363" y="18661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A270A67-6AF1-4EDB-8CA7-0EB8A9421B40}"/>
              </a:ext>
            </a:extLst>
          </p:cNvPr>
          <p:cNvSpPr txBox="1"/>
          <p:nvPr/>
        </p:nvSpPr>
        <p:spPr>
          <a:xfrm>
            <a:off x="293379" y="557831"/>
            <a:ext cx="10772823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Parallelogram 57">
            <a:extLst>
              <a:ext uri="{FF2B5EF4-FFF2-40B4-BE49-F238E27FC236}">
                <a16:creationId xmlns:a16="http://schemas.microsoft.com/office/drawing/2014/main" id="{084C56B0-C6B6-499D-9263-F2E2574A7CF5}"/>
              </a:ext>
            </a:extLst>
          </p:cNvPr>
          <p:cNvSpPr>
            <a:spLocks/>
          </p:cNvSpPr>
          <p:nvPr/>
        </p:nvSpPr>
        <p:spPr>
          <a:xfrm>
            <a:off x="-562826" y="301819"/>
            <a:ext cx="12595169" cy="1004467"/>
          </a:xfrm>
          <a:prstGeom prst="parallelogram">
            <a:avLst>
              <a:gd name="adj" fmla="val 42902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7DAE334-DC31-4F12-8E41-6F2DAAC9EB14}"/>
              </a:ext>
            </a:extLst>
          </p:cNvPr>
          <p:cNvSpPr txBox="1"/>
          <p:nvPr/>
        </p:nvSpPr>
        <p:spPr>
          <a:xfrm>
            <a:off x="293379" y="557831"/>
            <a:ext cx="9353188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25" name="TextBox 24">
            <a:extLst/>
          </p:cNvPr>
          <p:cNvSpPr txBox="1"/>
          <p:nvPr/>
        </p:nvSpPr>
        <p:spPr>
          <a:xfrm>
            <a:off x="445779" y="557831"/>
            <a:ext cx="10772823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sz="32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ranscript into the Remarketing World</a:t>
            </a:r>
            <a:endParaRPr lang="en-US" sz="3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9"/>
          <a:srcRect l="21087" t="19021" r="19279" b="10455"/>
          <a:stretch/>
        </p:blipFill>
        <p:spPr>
          <a:xfrm>
            <a:off x="2677431" y="1656252"/>
            <a:ext cx="6897392" cy="465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9721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517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64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EDFB1D6-69FA-41A4-B8B4-9BDDF412734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A47C50A-4211-4A3B-8F0B-487C1DF4279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13" r="14010" b="16493"/>
          <a:stretch/>
        </p:blipFill>
        <p:spPr>
          <a:xfrm>
            <a:off x="1" y="948"/>
            <a:ext cx="12293702" cy="6928514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983D42A6-F1FB-4842-8318-2D7E70F6B526}"/>
              </a:ext>
            </a:extLst>
          </p:cNvPr>
          <p:cNvSpPr/>
          <p:nvPr/>
        </p:nvSpPr>
        <p:spPr>
          <a:xfrm>
            <a:off x="1" y="0"/>
            <a:ext cx="12293702" cy="6929462"/>
          </a:xfrm>
          <a:prstGeom prst="rect">
            <a:avLst/>
          </a:prstGeom>
          <a:solidFill>
            <a:schemeClr val="tx1">
              <a:lumMod val="50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A270A67-6AF1-4EDB-8CA7-0EB8A9421B40}"/>
              </a:ext>
            </a:extLst>
          </p:cNvPr>
          <p:cNvSpPr txBox="1"/>
          <p:nvPr/>
        </p:nvSpPr>
        <p:spPr>
          <a:xfrm>
            <a:off x="293379" y="557831"/>
            <a:ext cx="10772823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sz="3200" b="1" dirty="0">
                <a:latin typeface="Calibri" panose="020F0502020204030204" pitchFamily="34" charset="0"/>
                <a:cs typeface="Calibri" panose="020F0502020204030204" pitchFamily="34" charset="0"/>
              </a:rPr>
              <a:t>The Extraordinary Size of Amazon</a:t>
            </a:r>
          </a:p>
        </p:txBody>
      </p:sp>
      <p:sp>
        <p:nvSpPr>
          <p:cNvPr id="58" name="Parallelogram 57">
            <a:extLst>
              <a:ext uri="{FF2B5EF4-FFF2-40B4-BE49-F238E27FC236}">
                <a16:creationId xmlns:a16="http://schemas.microsoft.com/office/drawing/2014/main" id="{084C56B0-C6B6-499D-9263-F2E2574A7CF5}"/>
              </a:ext>
            </a:extLst>
          </p:cNvPr>
          <p:cNvSpPr>
            <a:spLocks/>
          </p:cNvSpPr>
          <p:nvPr/>
        </p:nvSpPr>
        <p:spPr>
          <a:xfrm>
            <a:off x="-562826" y="301819"/>
            <a:ext cx="10926025" cy="1004467"/>
          </a:xfrm>
          <a:prstGeom prst="parallelogram">
            <a:avLst>
              <a:gd name="adj" fmla="val 42902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AF24937B-5694-41DF-92B9-8306090876EE}"/>
              </a:ext>
            </a:extLst>
          </p:cNvPr>
          <p:cNvSpPr/>
          <p:nvPr/>
        </p:nvSpPr>
        <p:spPr>
          <a:xfrm>
            <a:off x="1159066" y="1639381"/>
            <a:ext cx="7118552" cy="30777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 defTabSz="609092">
              <a:defRPr sz="1800"/>
            </a:pPr>
            <a:r>
              <a:rPr lang="en-US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Source Sans Pro Semibold" panose="020B0603030403020204" pitchFamily="34" charset="0"/>
                <a:cs typeface="Calibri" panose="020F0502020204030204" pitchFamily="34" charset="0"/>
                <a:sym typeface="Source Sans Pro Light"/>
              </a:rPr>
              <a:t>Amazon </a:t>
            </a:r>
            <a:r>
              <a:rPr lang="en-US" sz="2000" b="1" dirty="0">
                <a:solidFill>
                  <a:prstClr val="white"/>
                </a:solidFill>
                <a:latin typeface="Calibri" panose="020F0502020204030204" pitchFamily="34" charset="0"/>
                <a:ea typeface="Source Sans Pro Semibold" panose="020B0603030403020204" pitchFamily="34" charset="0"/>
                <a:cs typeface="Calibri" panose="020F0502020204030204" pitchFamily="34" charset="0"/>
                <a:sym typeface="Source Sans Pro Light"/>
              </a:rPr>
              <a:t>is bigger than most brick and mortar retailers put together</a:t>
            </a:r>
            <a:endParaRPr lang="en-US" sz="2000" b="1" dirty="0">
              <a:solidFill>
                <a:prstClr val="white"/>
              </a:solidFill>
              <a:latin typeface="Calibri" panose="020F0502020204030204" pitchFamily="34" charset="0"/>
              <a:ea typeface="Source Sans Pro Semibold" pitchFamily="34" charset="0"/>
              <a:cs typeface="Calibri" panose="020F0502020204030204" pitchFamily="34" charset="0"/>
              <a:sym typeface="Source Sans Pro Semibold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7314A69-C186-4564-94EC-1D685097A42D}"/>
              </a:ext>
            </a:extLst>
          </p:cNvPr>
          <p:cNvSpPr/>
          <p:nvPr/>
        </p:nvSpPr>
        <p:spPr>
          <a:xfrm>
            <a:off x="2899645" y="1947029"/>
            <a:ext cx="3637407" cy="276999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 defTabSz="609092">
              <a:defRPr sz="1800"/>
            </a:pPr>
            <a:r>
              <a:rPr lang="en-US" b="1" i="1" dirty="0">
                <a:solidFill>
                  <a:prstClr val="white"/>
                </a:solidFill>
                <a:latin typeface="Calibri" panose="020F0502020204030204" pitchFamily="34" charset="0"/>
                <a:ea typeface="Source Sans Pro Semibold" panose="020B0603030403020204" pitchFamily="34" charset="0"/>
                <a:cs typeface="Calibri" panose="020F0502020204030204" pitchFamily="34" charset="0"/>
                <a:sym typeface="Source Sans Pro Light"/>
              </a:rPr>
              <a:t>Market Value as of December 30,2016</a:t>
            </a:r>
            <a:endParaRPr lang="en-US" b="1" i="1" dirty="0">
              <a:solidFill>
                <a:prstClr val="white"/>
              </a:solidFill>
              <a:latin typeface="Calibri" panose="020F0502020204030204" pitchFamily="34" charset="0"/>
              <a:ea typeface="Source Sans Pro Semibold" pitchFamily="34" charset="0"/>
              <a:cs typeface="Calibri" panose="020F0502020204030204" pitchFamily="34" charset="0"/>
              <a:sym typeface="Source Sans Pro Semibold"/>
            </a:endParaRPr>
          </a:p>
        </p:txBody>
      </p:sp>
      <p:sp>
        <p:nvSpPr>
          <p:cNvPr id="123914" name="Rectangle 123913">
            <a:extLst>
              <a:ext uri="{FF2B5EF4-FFF2-40B4-BE49-F238E27FC236}">
                <a16:creationId xmlns:a16="http://schemas.microsoft.com/office/drawing/2014/main" id="{8385121D-0A85-47FC-AFB4-80D913253BE4}"/>
              </a:ext>
            </a:extLst>
          </p:cNvPr>
          <p:cNvSpPr/>
          <p:nvPr/>
        </p:nvSpPr>
        <p:spPr>
          <a:xfrm>
            <a:off x="390525" y="2979965"/>
            <a:ext cx="4795144" cy="325956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alpha val="6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b="1" dirty="0">
                <a:latin typeface="Calibri" panose="020F0502020204030204" pitchFamily="34" charset="0"/>
                <a:cs typeface="Calibri" panose="020F0502020204030204" pitchFamily="34" charset="0"/>
              </a:rPr>
              <a:t>Amazon</a:t>
            </a:r>
          </a:p>
        </p:txBody>
      </p:sp>
      <p:sp>
        <p:nvSpPr>
          <p:cNvPr id="147" name="Textfeld 43">
            <a:extLst>
              <a:ext uri="{FF2B5EF4-FFF2-40B4-BE49-F238E27FC236}">
                <a16:creationId xmlns:a16="http://schemas.microsoft.com/office/drawing/2014/main" id="{A9F22BB3-DA8A-4A88-BD4D-27C3D4FD7B3E}"/>
              </a:ext>
            </a:extLst>
          </p:cNvPr>
          <p:cNvSpPr txBox="1"/>
          <p:nvPr/>
        </p:nvSpPr>
        <p:spPr>
          <a:xfrm>
            <a:off x="2271930" y="2601279"/>
            <a:ext cx="1032334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de-DE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355.9B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2E5C464D-DC6D-41EF-8167-826EFE81C312}"/>
              </a:ext>
            </a:extLst>
          </p:cNvPr>
          <p:cNvSpPr/>
          <p:nvPr/>
        </p:nvSpPr>
        <p:spPr>
          <a:xfrm>
            <a:off x="5383393" y="2979965"/>
            <a:ext cx="4795144" cy="325956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alpha val="6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8" name="Textfeld 43">
            <a:extLst>
              <a:ext uri="{FF2B5EF4-FFF2-40B4-BE49-F238E27FC236}">
                <a16:creationId xmlns:a16="http://schemas.microsoft.com/office/drawing/2014/main" id="{CCC65ECD-69F3-47C1-868A-C4C91B05289E}"/>
              </a:ext>
            </a:extLst>
          </p:cNvPr>
          <p:cNvSpPr txBox="1"/>
          <p:nvPr/>
        </p:nvSpPr>
        <p:spPr>
          <a:xfrm>
            <a:off x="7264798" y="2601279"/>
            <a:ext cx="1032334" cy="369332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de-DE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297.8B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56782" y="3992891"/>
            <a:ext cx="3533775" cy="12954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/>
          <a:srcRect l="3947" t="30074" r="3947" b="30074"/>
          <a:stretch/>
        </p:blipFill>
        <p:spPr>
          <a:xfrm>
            <a:off x="6606627" y="3611332"/>
            <a:ext cx="2834554" cy="91984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1"/>
          <a:srcRect l="-1" t="31515" r="1285" b="31799"/>
          <a:stretch/>
        </p:blipFill>
        <p:spPr>
          <a:xfrm>
            <a:off x="9328213" y="5718278"/>
            <a:ext cx="707760" cy="263028"/>
          </a:xfrm>
          <a:prstGeom prst="rect">
            <a:avLst/>
          </a:prstGeom>
        </p:spPr>
      </p:pic>
      <p:sp>
        <p:nvSpPr>
          <p:cNvPr id="47" name="Rectangle 46">
            <a:extLst/>
          </p:cNvPr>
          <p:cNvSpPr/>
          <p:nvPr/>
        </p:nvSpPr>
        <p:spPr>
          <a:xfrm>
            <a:off x="17528" y="6744796"/>
            <a:ext cx="2090701" cy="18466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algn="ctr" defTabSz="609092">
              <a:defRPr sz="1800"/>
            </a:pPr>
            <a:r>
              <a:rPr lang="en-US" sz="1200" b="1" i="1" dirty="0">
                <a:solidFill>
                  <a:prstClr val="white"/>
                </a:solidFill>
                <a:latin typeface="Calibri" panose="020F0502020204030204" pitchFamily="34" charset="0"/>
                <a:ea typeface="Source Sans Pro Semibold" panose="020B0603030403020204" pitchFamily="34" charset="0"/>
                <a:cs typeface="Calibri" panose="020F0502020204030204" pitchFamily="34" charset="0"/>
                <a:sym typeface="Source Sans Pro Light"/>
              </a:rPr>
              <a:t>http://www.visualcapitalist.com</a:t>
            </a:r>
            <a:endParaRPr lang="en-US" sz="1200" b="1" i="1" dirty="0">
              <a:solidFill>
                <a:prstClr val="white"/>
              </a:solidFill>
              <a:latin typeface="Calibri" panose="020F0502020204030204" pitchFamily="34" charset="0"/>
              <a:ea typeface="Source Sans Pro Semibold" pitchFamily="34" charset="0"/>
              <a:cs typeface="Calibri" panose="020F0502020204030204" pitchFamily="34" charset="0"/>
              <a:sym typeface="Source Sans Pro Semibold"/>
            </a:endParaRPr>
          </a:p>
        </p:txBody>
      </p:sp>
      <p:pic>
        <p:nvPicPr>
          <p:cNvPr id="126156" name="Picture 204" descr="Image result for Best Buy logo png">
            <a:extLst>
              <a:ext uri="{FF2B5EF4-FFF2-40B4-BE49-F238E27FC236}">
                <a16:creationId xmlns:a16="http://schemas.microsoft.com/office/drawing/2014/main" id="{B54B0B37-5B7A-4C9E-8D86-7740AEED4D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5298" y="5635124"/>
            <a:ext cx="623128" cy="429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160" name="Picture 208" descr="Image result for Macy's logo png">
            <a:extLst>
              <a:ext uri="{FF2B5EF4-FFF2-40B4-BE49-F238E27FC236}">
                <a16:creationId xmlns:a16="http://schemas.microsoft.com/office/drawing/2014/main" id="{6A90AB8A-A049-49FB-A4B6-38BF9CF482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852" y="5753207"/>
            <a:ext cx="726204" cy="193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162" name="Picture 210" descr="Image result for target logo png">
            <a:extLst>
              <a:ext uri="{FF2B5EF4-FFF2-40B4-BE49-F238E27FC236}">
                <a16:creationId xmlns:a16="http://schemas.microsoft.com/office/drawing/2014/main" id="{7D237FD4-5F62-4B45-86AB-0233A55CB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7120" y="5568997"/>
            <a:ext cx="422752" cy="561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164" name="Picture 212" descr="Image result for Kohl's logo png">
            <a:extLst>
              <a:ext uri="{FF2B5EF4-FFF2-40B4-BE49-F238E27FC236}">
                <a16:creationId xmlns:a16="http://schemas.microsoft.com/office/drawing/2014/main" id="{DA3CB582-8832-40D6-891F-1A6384342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5482" y="5785467"/>
            <a:ext cx="643254" cy="12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167" name="Picture 215" descr="Image result for nordstrom logo png">
            <a:extLst>
              <a:ext uri="{FF2B5EF4-FFF2-40B4-BE49-F238E27FC236}">
                <a16:creationId xmlns:a16="http://schemas.microsoft.com/office/drawing/2014/main" id="{7A9E6EE2-9242-46B7-A0EA-89466BDEA1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162" y="5793489"/>
            <a:ext cx="798628" cy="112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39226A-2696-4E02-A375-8B41C335B10D}"/>
              </a:ext>
            </a:extLst>
          </p:cNvPr>
          <p:cNvCxnSpPr>
            <a:cxnSpLocks/>
          </p:cNvCxnSpPr>
          <p:nvPr/>
        </p:nvCxnSpPr>
        <p:spPr>
          <a:xfrm>
            <a:off x="5473418" y="5448300"/>
            <a:ext cx="4615094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B2FC5DB-30CF-4ADA-9B87-5CF2FBC49352}"/>
              </a:ext>
            </a:extLst>
          </p:cNvPr>
          <p:cNvCxnSpPr/>
          <p:nvPr/>
        </p:nvCxnSpPr>
        <p:spPr>
          <a:xfrm>
            <a:off x="6017585" y="5513726"/>
            <a:ext cx="0" cy="68228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B8124F2-E0BF-44EF-BC6C-C4258322220B}"/>
              </a:ext>
            </a:extLst>
          </p:cNvPr>
          <p:cNvCxnSpPr/>
          <p:nvPr/>
        </p:nvCxnSpPr>
        <p:spPr>
          <a:xfrm>
            <a:off x="6756139" y="5513726"/>
            <a:ext cx="0" cy="68228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80A47B1-C733-4F1A-AA54-06BA9D10C0E7}"/>
              </a:ext>
            </a:extLst>
          </p:cNvPr>
          <p:cNvCxnSpPr/>
          <p:nvPr/>
        </p:nvCxnSpPr>
        <p:spPr>
          <a:xfrm>
            <a:off x="7597769" y="5513726"/>
            <a:ext cx="0" cy="68228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E851E05-7C93-41B3-8CB8-81F7D67BB442}"/>
              </a:ext>
            </a:extLst>
          </p:cNvPr>
          <p:cNvCxnSpPr/>
          <p:nvPr/>
        </p:nvCxnSpPr>
        <p:spPr>
          <a:xfrm>
            <a:off x="8356449" y="5513726"/>
            <a:ext cx="0" cy="68228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3B45DD74-348B-4A00-8280-5B65EC8A1678}"/>
              </a:ext>
            </a:extLst>
          </p:cNvPr>
          <p:cNvCxnSpPr/>
          <p:nvPr/>
        </p:nvCxnSpPr>
        <p:spPr>
          <a:xfrm>
            <a:off x="9270503" y="5513726"/>
            <a:ext cx="0" cy="68228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/>
          <p:cNvPicPr>
            <a:picLocks noChangeAspect="1"/>
          </p:cNvPicPr>
          <p:nvPr/>
        </p:nvPicPr>
        <p:blipFill>
          <a:blip r:embed="rId17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0659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9" descr="C:\Users\sunitha\Desktop\elementfleet-herolarge.jfif"/>
          <p:cNvPicPr>
            <a:picLocks noChangeAspect="1" noChangeArrowheads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" y="0"/>
            <a:ext cx="1218468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4143" y="0"/>
            <a:ext cx="12184682" cy="6858000"/>
          </a:xfrm>
          <a:prstGeom prst="rect">
            <a:avLst/>
          </a:prstGeom>
          <a:solidFill>
            <a:schemeClr val="tx1">
              <a:lumMod val="5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20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arallelogram 35">
            <a:extLst>
              <a:ext uri="{FF2B5EF4-FFF2-40B4-BE49-F238E27FC236}">
                <a16:creationId xmlns:a16="http://schemas.microsoft.com/office/drawing/2014/main" id="{C28F7EDB-73D4-4363-8566-4A9FE696A895}"/>
              </a:ext>
            </a:extLst>
          </p:cNvPr>
          <p:cNvSpPr>
            <a:spLocks/>
          </p:cNvSpPr>
          <p:nvPr/>
        </p:nvSpPr>
        <p:spPr>
          <a:xfrm>
            <a:off x="-1920143" y="1803475"/>
            <a:ext cx="12544383" cy="3804204"/>
          </a:xfrm>
          <a:prstGeom prst="parallelogram">
            <a:avLst>
              <a:gd name="adj" fmla="val 43454"/>
            </a:avLst>
          </a:prstGeom>
          <a:solidFill>
            <a:schemeClr val="bg1">
              <a:alpha val="2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6EAD1F1-5F70-41BC-887C-808EF2910F44}"/>
              </a:ext>
            </a:extLst>
          </p:cNvPr>
          <p:cNvSpPr/>
          <p:nvPr/>
        </p:nvSpPr>
        <p:spPr>
          <a:xfrm>
            <a:off x="779755" y="2230499"/>
            <a:ext cx="812757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b="1" dirty="0" smtClean="0">
                <a:solidFill>
                  <a:schemeClr val="bg1"/>
                </a:solidFill>
                <a:latin typeface="Kunstler Script" panose="030304020206070D0D06" pitchFamily="66" charset="0"/>
                <a:cs typeface="Calibri" panose="020F0502020204030204" pitchFamily="34" charset="0"/>
              </a:rPr>
              <a:t>No matter what people tell you, words &amp; ideas can change the world! </a:t>
            </a:r>
          </a:p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- </a:t>
            </a:r>
          </a:p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Kunstler Script" panose="030304020206070D0D06" pitchFamily="66" charset="0"/>
                <a:cs typeface="Calibri" panose="020F0502020204030204" pitchFamily="34" charset="0"/>
              </a:rPr>
              <a:t>Robin Williams</a:t>
            </a:r>
            <a:endParaRPr lang="en-US" sz="2400" b="1" dirty="0">
              <a:solidFill>
                <a:schemeClr val="bg1"/>
              </a:solidFill>
              <a:latin typeface="Kunstler Script" panose="030304020206070D0D06" pitchFamily="66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8853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995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0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F5544F5-3586-4845-9364-DD3420BC6140}"/>
              </a:ext>
            </a:extLst>
          </p:cNvPr>
          <p:cNvPicPr>
            <a:picLocks/>
          </p:cNvPicPr>
          <p:nvPr/>
        </p:nvPicPr>
        <p:blipFill rotWithShape="1">
          <a:blip r:embed="rId7">
            <a:grayscl/>
            <a:extLst/>
          </a:blip>
          <a:srcRect l="3335" r="3335"/>
          <a:stretch/>
        </p:blipFill>
        <p:spPr>
          <a:xfrm>
            <a:off x="0" y="0"/>
            <a:ext cx="12188825" cy="6856413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4E1882C1-B148-41F7-9CB7-598754B6938C}"/>
              </a:ext>
            </a:extLst>
          </p:cNvPr>
          <p:cNvSpPr/>
          <p:nvPr/>
        </p:nvSpPr>
        <p:spPr>
          <a:xfrm>
            <a:off x="0" y="0"/>
            <a:ext cx="12188825" cy="6858984"/>
          </a:xfrm>
          <a:prstGeom prst="rect">
            <a:avLst/>
          </a:prstGeom>
          <a:solidFill>
            <a:schemeClr val="tx1">
              <a:lumMod val="5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Speech Bubble: Oval 34">
            <a:extLst>
              <a:ext uri="{FF2B5EF4-FFF2-40B4-BE49-F238E27FC236}">
                <a16:creationId xmlns:a16="http://schemas.microsoft.com/office/drawing/2014/main" id="{43D10649-3DB3-4B8E-81EC-6744073D33D6}"/>
              </a:ext>
            </a:extLst>
          </p:cNvPr>
          <p:cNvSpPr/>
          <p:nvPr/>
        </p:nvSpPr>
        <p:spPr>
          <a:xfrm>
            <a:off x="7102623" y="2163228"/>
            <a:ext cx="1659543" cy="1214379"/>
          </a:xfrm>
          <a:prstGeom prst="wedgeEllipseCallout">
            <a:avLst>
              <a:gd name="adj1" fmla="val -26288"/>
              <a:gd name="adj2" fmla="val 61672"/>
            </a:avLst>
          </a:prstGeom>
          <a:solidFill>
            <a:srgbClr val="29384C">
              <a:alpha val="4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Recognize me and 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where I am on 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my journey</a:t>
            </a:r>
          </a:p>
        </p:txBody>
      </p:sp>
      <p:sp>
        <p:nvSpPr>
          <p:cNvPr id="36" name="Speech Bubble: Oval 35">
            <a:extLst>
              <a:ext uri="{FF2B5EF4-FFF2-40B4-BE49-F238E27FC236}">
                <a16:creationId xmlns:a16="http://schemas.microsoft.com/office/drawing/2014/main" id="{3FEB9F37-5153-4C81-9D89-F1F0106B3B55}"/>
              </a:ext>
            </a:extLst>
          </p:cNvPr>
          <p:cNvSpPr/>
          <p:nvPr/>
        </p:nvSpPr>
        <p:spPr>
          <a:xfrm>
            <a:off x="8986484" y="2163228"/>
            <a:ext cx="1992844" cy="1458274"/>
          </a:xfrm>
          <a:prstGeom prst="wedgeEllipseCallout">
            <a:avLst>
              <a:gd name="adj1" fmla="val 22835"/>
              <a:gd name="adj2" fmla="val 65716"/>
            </a:avLst>
          </a:prstGeom>
          <a:solidFill>
            <a:srgbClr val="29384C">
              <a:alpha val="4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Surface content I want 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(or may want) intuitively,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based on intelligent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understanding</a:t>
            </a:r>
          </a:p>
        </p:txBody>
      </p:sp>
      <p:sp>
        <p:nvSpPr>
          <p:cNvPr id="37" name="Speech Bubble: Oval 36">
            <a:extLst>
              <a:ext uri="{FF2B5EF4-FFF2-40B4-BE49-F238E27FC236}">
                <a16:creationId xmlns:a16="http://schemas.microsoft.com/office/drawing/2014/main" id="{2245115E-8B53-4B03-B5A3-B05C5C78C252}"/>
              </a:ext>
            </a:extLst>
          </p:cNvPr>
          <p:cNvSpPr/>
          <p:nvPr/>
        </p:nvSpPr>
        <p:spPr>
          <a:xfrm>
            <a:off x="7015384" y="4837466"/>
            <a:ext cx="1557999" cy="1140074"/>
          </a:xfrm>
          <a:prstGeom prst="wedgeEllipseCallout">
            <a:avLst>
              <a:gd name="adj1" fmla="val -26288"/>
              <a:gd name="adj2" fmla="val 61672"/>
            </a:avLst>
          </a:prstGeom>
          <a:solidFill>
            <a:srgbClr val="29384C">
              <a:alpha val="4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Empower me to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share and interact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on any platform</a:t>
            </a:r>
          </a:p>
        </p:txBody>
      </p:sp>
      <p:sp>
        <p:nvSpPr>
          <p:cNvPr id="38" name="Speech Bubble: Oval 37">
            <a:extLst>
              <a:ext uri="{FF2B5EF4-FFF2-40B4-BE49-F238E27FC236}">
                <a16:creationId xmlns:a16="http://schemas.microsoft.com/office/drawing/2014/main" id="{01D4D053-9871-4EBF-BDB1-2915EFD5DC09}"/>
              </a:ext>
            </a:extLst>
          </p:cNvPr>
          <p:cNvSpPr/>
          <p:nvPr/>
        </p:nvSpPr>
        <p:spPr>
          <a:xfrm>
            <a:off x="8759286" y="4892736"/>
            <a:ext cx="1886741" cy="1380632"/>
          </a:xfrm>
          <a:prstGeom prst="wedgeEllipseCallout">
            <a:avLst>
              <a:gd name="adj1" fmla="val 22835"/>
              <a:gd name="adj2" fmla="val 65716"/>
            </a:avLst>
          </a:prstGeom>
          <a:solidFill>
            <a:srgbClr val="29384C">
              <a:alpha val="4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Maintain a consistent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service experience 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beyond point of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purchase</a:t>
            </a:r>
          </a:p>
        </p:txBody>
      </p:sp>
      <p:sp>
        <p:nvSpPr>
          <p:cNvPr id="39" name="Speech Bubble: Oval 38">
            <a:extLst>
              <a:ext uri="{FF2B5EF4-FFF2-40B4-BE49-F238E27FC236}">
                <a16:creationId xmlns:a16="http://schemas.microsoft.com/office/drawing/2014/main" id="{8113224D-F980-49CF-A9FD-41E0657C659B}"/>
              </a:ext>
            </a:extLst>
          </p:cNvPr>
          <p:cNvSpPr/>
          <p:nvPr/>
        </p:nvSpPr>
        <p:spPr>
          <a:xfrm>
            <a:off x="7910973" y="3511621"/>
            <a:ext cx="1659543" cy="1214379"/>
          </a:xfrm>
          <a:prstGeom prst="wedgeEllipseCallout">
            <a:avLst>
              <a:gd name="adj1" fmla="val 4468"/>
              <a:gd name="adj2" fmla="val 74082"/>
            </a:avLst>
          </a:prstGeom>
          <a:solidFill>
            <a:srgbClr val="29384C">
              <a:alpha val="4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Make it easy for 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me to buy – how and</a:t>
            </a:r>
            <a:b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where I wan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0A77C2E-7E24-444A-B836-6746547E5809}"/>
              </a:ext>
            </a:extLst>
          </p:cNvPr>
          <p:cNvSpPr txBox="1"/>
          <p:nvPr/>
        </p:nvSpPr>
        <p:spPr>
          <a:xfrm>
            <a:off x="7048269" y="1736402"/>
            <a:ext cx="20726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mply put …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812F5598-FF01-4367-AE6D-A76719DF5996}"/>
              </a:ext>
            </a:extLst>
          </p:cNvPr>
          <p:cNvSpPr/>
          <p:nvPr/>
        </p:nvSpPr>
        <p:spPr>
          <a:xfrm>
            <a:off x="2620986" y="1710791"/>
            <a:ext cx="1919981" cy="1919980"/>
          </a:xfrm>
          <a:custGeom>
            <a:avLst/>
            <a:gdLst>
              <a:gd name="connsiteX0" fmla="*/ 0 w 1557990"/>
              <a:gd name="connsiteY0" fmla="*/ 778995 h 1557990"/>
              <a:gd name="connsiteX1" fmla="*/ 778995 w 1557990"/>
              <a:gd name="connsiteY1" fmla="*/ 0 h 1557990"/>
              <a:gd name="connsiteX2" fmla="*/ 1557990 w 1557990"/>
              <a:gd name="connsiteY2" fmla="*/ 778995 h 1557990"/>
              <a:gd name="connsiteX3" fmla="*/ 778995 w 1557990"/>
              <a:gd name="connsiteY3" fmla="*/ 1557990 h 1557990"/>
              <a:gd name="connsiteX4" fmla="*/ 0 w 1557990"/>
              <a:gd name="connsiteY4" fmla="*/ 778995 h 155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7990" h="1557990">
                <a:moveTo>
                  <a:pt x="0" y="778995"/>
                </a:moveTo>
                <a:cubicBezTo>
                  <a:pt x="0" y="348768"/>
                  <a:pt x="348768" y="0"/>
                  <a:pt x="778995" y="0"/>
                </a:cubicBezTo>
                <a:cubicBezTo>
                  <a:pt x="1209222" y="0"/>
                  <a:pt x="1557990" y="348768"/>
                  <a:pt x="1557990" y="778995"/>
                </a:cubicBezTo>
                <a:cubicBezTo>
                  <a:pt x="1557990" y="1209222"/>
                  <a:pt x="1209222" y="1557990"/>
                  <a:pt x="778995" y="1557990"/>
                </a:cubicBezTo>
                <a:cubicBezTo>
                  <a:pt x="348768" y="1557990"/>
                  <a:pt x="0" y="1209222"/>
                  <a:pt x="0" y="778995"/>
                </a:cubicBezTo>
                <a:close/>
              </a:path>
            </a:pathLst>
          </a:custGeom>
          <a:solidFill>
            <a:schemeClr val="bg2">
              <a:alpha val="59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 defTabSz="609265"/>
            <a:endParaRPr lang="en-US" sz="14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1871D66-13CE-4F65-9AE1-C6674FF198EF}"/>
              </a:ext>
            </a:extLst>
          </p:cNvPr>
          <p:cNvSpPr/>
          <p:nvPr/>
        </p:nvSpPr>
        <p:spPr>
          <a:xfrm>
            <a:off x="4032476" y="2736297"/>
            <a:ext cx="1919981" cy="1919980"/>
          </a:xfrm>
          <a:custGeom>
            <a:avLst/>
            <a:gdLst>
              <a:gd name="connsiteX0" fmla="*/ 0 w 1557990"/>
              <a:gd name="connsiteY0" fmla="*/ 778995 h 1557990"/>
              <a:gd name="connsiteX1" fmla="*/ 778995 w 1557990"/>
              <a:gd name="connsiteY1" fmla="*/ 0 h 1557990"/>
              <a:gd name="connsiteX2" fmla="*/ 1557990 w 1557990"/>
              <a:gd name="connsiteY2" fmla="*/ 778995 h 1557990"/>
              <a:gd name="connsiteX3" fmla="*/ 778995 w 1557990"/>
              <a:gd name="connsiteY3" fmla="*/ 1557990 h 1557990"/>
              <a:gd name="connsiteX4" fmla="*/ 0 w 1557990"/>
              <a:gd name="connsiteY4" fmla="*/ 778995 h 155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7990" h="1557990">
                <a:moveTo>
                  <a:pt x="0" y="778995"/>
                </a:moveTo>
                <a:cubicBezTo>
                  <a:pt x="0" y="348768"/>
                  <a:pt x="348768" y="0"/>
                  <a:pt x="778995" y="0"/>
                </a:cubicBezTo>
                <a:cubicBezTo>
                  <a:pt x="1209222" y="0"/>
                  <a:pt x="1557990" y="348768"/>
                  <a:pt x="1557990" y="778995"/>
                </a:cubicBezTo>
                <a:cubicBezTo>
                  <a:pt x="1557990" y="1209222"/>
                  <a:pt x="1209222" y="1557990"/>
                  <a:pt x="778995" y="1557990"/>
                </a:cubicBezTo>
                <a:cubicBezTo>
                  <a:pt x="348768" y="1557990"/>
                  <a:pt x="0" y="1209222"/>
                  <a:pt x="0" y="778995"/>
                </a:cubicBezTo>
                <a:close/>
              </a:path>
            </a:pathLst>
          </a:custGeom>
          <a:solidFill>
            <a:schemeClr val="tx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lt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CA24F1D-1764-4910-80DF-674213AD1122}"/>
              </a:ext>
            </a:extLst>
          </p:cNvPr>
          <p:cNvSpPr/>
          <p:nvPr/>
        </p:nvSpPr>
        <p:spPr>
          <a:xfrm>
            <a:off x="3493335" y="4395603"/>
            <a:ext cx="1919981" cy="1919980"/>
          </a:xfrm>
          <a:custGeom>
            <a:avLst/>
            <a:gdLst>
              <a:gd name="connsiteX0" fmla="*/ 0 w 1557990"/>
              <a:gd name="connsiteY0" fmla="*/ 778995 h 1557990"/>
              <a:gd name="connsiteX1" fmla="*/ 778995 w 1557990"/>
              <a:gd name="connsiteY1" fmla="*/ 0 h 1557990"/>
              <a:gd name="connsiteX2" fmla="*/ 1557990 w 1557990"/>
              <a:gd name="connsiteY2" fmla="*/ 778995 h 1557990"/>
              <a:gd name="connsiteX3" fmla="*/ 778995 w 1557990"/>
              <a:gd name="connsiteY3" fmla="*/ 1557990 h 1557990"/>
              <a:gd name="connsiteX4" fmla="*/ 0 w 1557990"/>
              <a:gd name="connsiteY4" fmla="*/ 778995 h 155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7990" h="1557990">
                <a:moveTo>
                  <a:pt x="0" y="778995"/>
                </a:moveTo>
                <a:cubicBezTo>
                  <a:pt x="0" y="348768"/>
                  <a:pt x="348768" y="0"/>
                  <a:pt x="778995" y="0"/>
                </a:cubicBezTo>
                <a:cubicBezTo>
                  <a:pt x="1209222" y="0"/>
                  <a:pt x="1557990" y="348768"/>
                  <a:pt x="1557990" y="778995"/>
                </a:cubicBezTo>
                <a:cubicBezTo>
                  <a:pt x="1557990" y="1209222"/>
                  <a:pt x="1209222" y="1557990"/>
                  <a:pt x="778995" y="1557990"/>
                </a:cubicBezTo>
                <a:cubicBezTo>
                  <a:pt x="348768" y="1557990"/>
                  <a:pt x="0" y="1209222"/>
                  <a:pt x="0" y="778995"/>
                </a:cubicBezTo>
                <a:close/>
              </a:path>
            </a:pathLst>
          </a:custGeom>
          <a:solidFill>
            <a:schemeClr val="bg2">
              <a:alpha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 defTabSz="609265"/>
            <a:endParaRPr lang="en-US" sz="140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0BF2AA6-C525-449D-9F7B-B952CEBB73DD}"/>
              </a:ext>
            </a:extLst>
          </p:cNvPr>
          <p:cNvSpPr/>
          <p:nvPr/>
        </p:nvSpPr>
        <p:spPr>
          <a:xfrm>
            <a:off x="1748638" y="4395603"/>
            <a:ext cx="1919981" cy="1919980"/>
          </a:xfrm>
          <a:custGeom>
            <a:avLst/>
            <a:gdLst>
              <a:gd name="connsiteX0" fmla="*/ 0 w 1557990"/>
              <a:gd name="connsiteY0" fmla="*/ 778995 h 1557990"/>
              <a:gd name="connsiteX1" fmla="*/ 778995 w 1557990"/>
              <a:gd name="connsiteY1" fmla="*/ 0 h 1557990"/>
              <a:gd name="connsiteX2" fmla="*/ 1557990 w 1557990"/>
              <a:gd name="connsiteY2" fmla="*/ 778995 h 1557990"/>
              <a:gd name="connsiteX3" fmla="*/ 778995 w 1557990"/>
              <a:gd name="connsiteY3" fmla="*/ 1557990 h 1557990"/>
              <a:gd name="connsiteX4" fmla="*/ 0 w 1557990"/>
              <a:gd name="connsiteY4" fmla="*/ 778995 h 155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7990" h="1557990">
                <a:moveTo>
                  <a:pt x="0" y="778995"/>
                </a:moveTo>
                <a:cubicBezTo>
                  <a:pt x="0" y="348768"/>
                  <a:pt x="348768" y="0"/>
                  <a:pt x="778995" y="0"/>
                </a:cubicBezTo>
                <a:cubicBezTo>
                  <a:pt x="1209222" y="0"/>
                  <a:pt x="1557990" y="348768"/>
                  <a:pt x="1557990" y="778995"/>
                </a:cubicBezTo>
                <a:cubicBezTo>
                  <a:pt x="1557990" y="1209222"/>
                  <a:pt x="1209222" y="1557990"/>
                  <a:pt x="778995" y="1557990"/>
                </a:cubicBezTo>
                <a:cubicBezTo>
                  <a:pt x="348768" y="1557990"/>
                  <a:pt x="0" y="1209222"/>
                  <a:pt x="0" y="778995"/>
                </a:cubicBezTo>
                <a:close/>
              </a:path>
            </a:pathLst>
          </a:custGeom>
          <a:solidFill>
            <a:schemeClr val="bg2">
              <a:alpha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 defTabSz="609265"/>
            <a:endParaRPr lang="en-US" sz="14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68421CB-F1E1-46A3-BAAB-B574990D3226}"/>
              </a:ext>
            </a:extLst>
          </p:cNvPr>
          <p:cNvSpPr/>
          <p:nvPr/>
        </p:nvSpPr>
        <p:spPr>
          <a:xfrm>
            <a:off x="1209497" y="2736297"/>
            <a:ext cx="1919981" cy="1919980"/>
          </a:xfrm>
          <a:custGeom>
            <a:avLst/>
            <a:gdLst>
              <a:gd name="connsiteX0" fmla="*/ 0 w 1557990"/>
              <a:gd name="connsiteY0" fmla="*/ 778995 h 1557990"/>
              <a:gd name="connsiteX1" fmla="*/ 778995 w 1557990"/>
              <a:gd name="connsiteY1" fmla="*/ 0 h 1557990"/>
              <a:gd name="connsiteX2" fmla="*/ 1557990 w 1557990"/>
              <a:gd name="connsiteY2" fmla="*/ 778995 h 1557990"/>
              <a:gd name="connsiteX3" fmla="*/ 778995 w 1557990"/>
              <a:gd name="connsiteY3" fmla="*/ 1557990 h 1557990"/>
              <a:gd name="connsiteX4" fmla="*/ 0 w 1557990"/>
              <a:gd name="connsiteY4" fmla="*/ 778995 h 155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57990" h="1557990">
                <a:moveTo>
                  <a:pt x="0" y="778995"/>
                </a:moveTo>
                <a:cubicBezTo>
                  <a:pt x="0" y="348768"/>
                  <a:pt x="348768" y="0"/>
                  <a:pt x="778995" y="0"/>
                </a:cubicBezTo>
                <a:cubicBezTo>
                  <a:pt x="1209222" y="0"/>
                  <a:pt x="1557990" y="348768"/>
                  <a:pt x="1557990" y="778995"/>
                </a:cubicBezTo>
                <a:cubicBezTo>
                  <a:pt x="1557990" y="1209222"/>
                  <a:pt x="1209222" y="1557990"/>
                  <a:pt x="778995" y="1557990"/>
                </a:cubicBezTo>
                <a:cubicBezTo>
                  <a:pt x="348768" y="1557990"/>
                  <a:pt x="0" y="1209222"/>
                  <a:pt x="0" y="778995"/>
                </a:cubicBezTo>
                <a:close/>
              </a:path>
            </a:pathLst>
          </a:custGeom>
          <a:solidFill>
            <a:schemeClr val="tx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lt1"/>
              </a:solidFill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CC73D34-53A4-4A4D-BEA3-3B810EE36CF6}"/>
              </a:ext>
            </a:extLst>
          </p:cNvPr>
          <p:cNvSpPr/>
          <p:nvPr/>
        </p:nvSpPr>
        <p:spPr>
          <a:xfrm>
            <a:off x="2440285" y="3014217"/>
            <a:ext cx="2281384" cy="2281383"/>
          </a:xfrm>
          <a:custGeom>
            <a:avLst/>
            <a:gdLst>
              <a:gd name="connsiteX0" fmla="*/ 0 w 3115980"/>
              <a:gd name="connsiteY0" fmla="*/ 1557990 h 3115980"/>
              <a:gd name="connsiteX1" fmla="*/ 1557990 w 3115980"/>
              <a:gd name="connsiteY1" fmla="*/ 0 h 3115980"/>
              <a:gd name="connsiteX2" fmla="*/ 3115980 w 3115980"/>
              <a:gd name="connsiteY2" fmla="*/ 1557990 h 3115980"/>
              <a:gd name="connsiteX3" fmla="*/ 1557990 w 3115980"/>
              <a:gd name="connsiteY3" fmla="*/ 3115980 h 3115980"/>
              <a:gd name="connsiteX4" fmla="*/ 0 w 3115980"/>
              <a:gd name="connsiteY4" fmla="*/ 1557990 h 3115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15980" h="3115980">
                <a:moveTo>
                  <a:pt x="0" y="1557990"/>
                </a:moveTo>
                <a:cubicBezTo>
                  <a:pt x="0" y="697536"/>
                  <a:pt x="697536" y="0"/>
                  <a:pt x="1557990" y="0"/>
                </a:cubicBezTo>
                <a:cubicBezTo>
                  <a:pt x="2418444" y="0"/>
                  <a:pt x="3115980" y="697536"/>
                  <a:pt x="3115980" y="1557990"/>
                </a:cubicBezTo>
                <a:cubicBezTo>
                  <a:pt x="3115980" y="2418444"/>
                  <a:pt x="2418444" y="3115980"/>
                  <a:pt x="1557990" y="3115980"/>
                </a:cubicBezTo>
                <a:cubicBezTo>
                  <a:pt x="697536" y="3115980"/>
                  <a:pt x="0" y="2418444"/>
                  <a:pt x="0" y="15579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538875" tIns="538875" rIns="538875" bIns="538875" numCol="1" spcCol="1270" anchor="ctr" anchorCtr="0">
            <a:noAutofit/>
          </a:bodyPr>
          <a:lstStyle/>
          <a:p>
            <a:pPr marL="0" lvl="0" indent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6500" kern="1200" dirty="0"/>
          </a:p>
        </p:txBody>
      </p:sp>
      <p:sp>
        <p:nvSpPr>
          <p:cNvPr id="21" name="Freeform 14">
            <a:extLst>
              <a:ext uri="{FF2B5EF4-FFF2-40B4-BE49-F238E27FC236}">
                <a16:creationId xmlns:a16="http://schemas.microsoft.com/office/drawing/2014/main" id="{4C714C40-7751-4F99-8C84-F94EC97E261E}"/>
              </a:ext>
            </a:extLst>
          </p:cNvPr>
          <p:cNvSpPr>
            <a:spLocks noEditPoints="1"/>
          </p:cNvSpPr>
          <p:nvPr/>
        </p:nvSpPr>
        <p:spPr bwMode="auto">
          <a:xfrm>
            <a:off x="3090421" y="3784328"/>
            <a:ext cx="981114" cy="1065012"/>
          </a:xfrm>
          <a:custGeom>
            <a:avLst/>
            <a:gdLst>
              <a:gd name="T0" fmla="*/ 2627 w 2983"/>
              <a:gd name="T1" fmla="*/ 2195 h 3239"/>
              <a:gd name="T2" fmla="*/ 2360 w 2983"/>
              <a:gd name="T3" fmla="*/ 2305 h 3239"/>
              <a:gd name="T4" fmla="*/ 2243 w 2983"/>
              <a:gd name="T5" fmla="*/ 2415 h 3239"/>
              <a:gd name="T6" fmla="*/ 2129 w 2983"/>
              <a:gd name="T7" fmla="*/ 2611 h 3239"/>
              <a:gd name="T8" fmla="*/ 915 w 2983"/>
              <a:gd name="T9" fmla="*/ 2338 h 3239"/>
              <a:gd name="T10" fmla="*/ 355 w 2983"/>
              <a:gd name="T11" fmla="*/ 2195 h 3239"/>
              <a:gd name="T12" fmla="*/ 2187 w 2983"/>
              <a:gd name="T13" fmla="*/ 1913 h 3239"/>
              <a:gd name="T14" fmla="*/ 1146 w 2983"/>
              <a:gd name="T15" fmla="*/ 1740 h 3239"/>
              <a:gd name="T16" fmla="*/ 1107 w 2983"/>
              <a:gd name="T17" fmla="*/ 1778 h 3239"/>
              <a:gd name="T18" fmla="*/ 1970 w 2983"/>
              <a:gd name="T19" fmla="*/ 1676 h 3239"/>
              <a:gd name="T20" fmla="*/ 2081 w 2983"/>
              <a:gd name="T21" fmla="*/ 1765 h 3239"/>
              <a:gd name="T22" fmla="*/ 2004 w 2983"/>
              <a:gd name="T23" fmla="*/ 1700 h 3239"/>
              <a:gd name="T24" fmla="*/ 1970 w 2983"/>
              <a:gd name="T25" fmla="*/ 1676 h 3239"/>
              <a:gd name="T26" fmla="*/ 1682 w 2983"/>
              <a:gd name="T27" fmla="*/ 392 h 3239"/>
              <a:gd name="T28" fmla="*/ 1576 w 2983"/>
              <a:gd name="T29" fmla="*/ 456 h 3239"/>
              <a:gd name="T30" fmla="*/ 1426 w 2983"/>
              <a:gd name="T31" fmla="*/ 501 h 3239"/>
              <a:gd name="T32" fmla="*/ 1263 w 2983"/>
              <a:gd name="T33" fmla="*/ 530 h 3239"/>
              <a:gd name="T34" fmla="*/ 1117 w 2983"/>
              <a:gd name="T35" fmla="*/ 548 h 3239"/>
              <a:gd name="T36" fmla="*/ 1034 w 2983"/>
              <a:gd name="T37" fmla="*/ 581 h 3239"/>
              <a:gd name="T38" fmla="*/ 1057 w 2983"/>
              <a:gd name="T39" fmla="*/ 772 h 3239"/>
              <a:gd name="T40" fmla="*/ 1157 w 2983"/>
              <a:gd name="T41" fmla="*/ 956 h 3239"/>
              <a:gd name="T42" fmla="*/ 1319 w 2983"/>
              <a:gd name="T43" fmla="*/ 1089 h 3239"/>
              <a:gd name="T44" fmla="*/ 1362 w 2983"/>
              <a:gd name="T45" fmla="*/ 1351 h 3239"/>
              <a:gd name="T46" fmla="*/ 1722 w 2983"/>
              <a:gd name="T47" fmla="*/ 1330 h 3239"/>
              <a:gd name="T48" fmla="*/ 1874 w 2983"/>
              <a:gd name="T49" fmla="*/ 1070 h 3239"/>
              <a:gd name="T50" fmla="*/ 2029 w 2983"/>
              <a:gd name="T51" fmla="*/ 922 h 3239"/>
              <a:gd name="T52" fmla="*/ 2116 w 2983"/>
              <a:gd name="T53" fmla="*/ 721 h 3239"/>
              <a:gd name="T54" fmla="*/ 2057 w 2983"/>
              <a:gd name="T55" fmla="*/ 638 h 3239"/>
              <a:gd name="T56" fmla="*/ 1943 w 2983"/>
              <a:gd name="T57" fmla="*/ 560 h 3239"/>
              <a:gd name="T58" fmla="*/ 1827 w 2983"/>
              <a:gd name="T59" fmla="*/ 462 h 3239"/>
              <a:gd name="T60" fmla="*/ 1738 w 2983"/>
              <a:gd name="T61" fmla="*/ 367 h 3239"/>
              <a:gd name="T62" fmla="*/ 1626 w 2983"/>
              <a:gd name="T63" fmla="*/ 2 h 3239"/>
              <a:gd name="T64" fmla="*/ 1831 w 2983"/>
              <a:gd name="T65" fmla="*/ 47 h 3239"/>
              <a:gd name="T66" fmla="*/ 1981 w 2983"/>
              <a:gd name="T67" fmla="*/ 143 h 3239"/>
              <a:gd name="T68" fmla="*/ 2087 w 2983"/>
              <a:gd name="T69" fmla="*/ 274 h 3239"/>
              <a:gd name="T70" fmla="*/ 2154 w 2983"/>
              <a:gd name="T71" fmla="*/ 429 h 3239"/>
              <a:gd name="T72" fmla="*/ 2192 w 2983"/>
              <a:gd name="T73" fmla="*/ 592 h 3239"/>
              <a:gd name="T74" fmla="*/ 2208 w 2983"/>
              <a:gd name="T75" fmla="*/ 750 h 3239"/>
              <a:gd name="T76" fmla="*/ 2210 w 2983"/>
              <a:gd name="T77" fmla="*/ 890 h 3239"/>
              <a:gd name="T78" fmla="*/ 2207 w 2983"/>
              <a:gd name="T79" fmla="*/ 998 h 3239"/>
              <a:gd name="T80" fmla="*/ 2186 w 2983"/>
              <a:gd name="T81" fmla="*/ 1260 h 3239"/>
              <a:gd name="T82" fmla="*/ 2178 w 2983"/>
              <a:gd name="T83" fmla="*/ 1372 h 3239"/>
              <a:gd name="T84" fmla="*/ 2216 w 2983"/>
              <a:gd name="T85" fmla="*/ 1437 h 3239"/>
              <a:gd name="T86" fmla="*/ 2277 w 2983"/>
              <a:gd name="T87" fmla="*/ 1552 h 3239"/>
              <a:gd name="T88" fmla="*/ 2345 w 2983"/>
              <a:gd name="T89" fmla="*/ 1699 h 3239"/>
              <a:gd name="T90" fmla="*/ 2403 w 2983"/>
              <a:gd name="T91" fmla="*/ 1860 h 3239"/>
              <a:gd name="T92" fmla="*/ 2440 w 2983"/>
              <a:gd name="T93" fmla="*/ 2017 h 3239"/>
              <a:gd name="T94" fmla="*/ 2983 w 2983"/>
              <a:gd name="T95" fmla="*/ 3239 h 3239"/>
              <a:gd name="T96" fmla="*/ 749 w 2983"/>
              <a:gd name="T97" fmla="*/ 2050 h 3239"/>
              <a:gd name="T98" fmla="*/ 752 w 2983"/>
              <a:gd name="T99" fmla="*/ 1893 h 3239"/>
              <a:gd name="T100" fmla="*/ 809 w 2983"/>
              <a:gd name="T101" fmla="*/ 1733 h 3239"/>
              <a:gd name="T102" fmla="*/ 874 w 2983"/>
              <a:gd name="T103" fmla="*/ 1593 h 3239"/>
              <a:gd name="T104" fmla="*/ 925 w 2983"/>
              <a:gd name="T105" fmla="*/ 1493 h 3239"/>
              <a:gd name="T106" fmla="*/ 947 w 2983"/>
              <a:gd name="T107" fmla="*/ 1456 h 3239"/>
              <a:gd name="T108" fmla="*/ 896 w 2983"/>
              <a:gd name="T109" fmla="*/ 617 h 3239"/>
              <a:gd name="T110" fmla="*/ 902 w 2983"/>
              <a:gd name="T111" fmla="*/ 555 h 3239"/>
              <a:gd name="T112" fmla="*/ 919 w 2983"/>
              <a:gd name="T113" fmla="*/ 460 h 3239"/>
              <a:gd name="T114" fmla="*/ 959 w 2983"/>
              <a:gd name="T115" fmla="*/ 346 h 3239"/>
              <a:gd name="T116" fmla="*/ 1028 w 2983"/>
              <a:gd name="T117" fmla="*/ 229 h 3239"/>
              <a:gd name="T118" fmla="*/ 1137 w 2983"/>
              <a:gd name="T119" fmla="*/ 122 h 3239"/>
              <a:gd name="T120" fmla="*/ 1292 w 2983"/>
              <a:gd name="T121" fmla="*/ 41 h 3239"/>
              <a:gd name="T122" fmla="*/ 1502 w 2983"/>
              <a:gd name="T123" fmla="*/ 2 h 3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983" h="3239">
                <a:moveTo>
                  <a:pt x="355" y="2195"/>
                </a:moveTo>
                <a:lnTo>
                  <a:pt x="134" y="3133"/>
                </a:lnTo>
                <a:lnTo>
                  <a:pt x="2850" y="3133"/>
                </a:lnTo>
                <a:lnTo>
                  <a:pt x="2627" y="2195"/>
                </a:lnTo>
                <a:lnTo>
                  <a:pt x="2422" y="2195"/>
                </a:lnTo>
                <a:lnTo>
                  <a:pt x="2406" y="2234"/>
                </a:lnTo>
                <a:lnTo>
                  <a:pt x="2385" y="2271"/>
                </a:lnTo>
                <a:lnTo>
                  <a:pt x="2360" y="2305"/>
                </a:lnTo>
                <a:lnTo>
                  <a:pt x="2334" y="2338"/>
                </a:lnTo>
                <a:lnTo>
                  <a:pt x="2305" y="2366"/>
                </a:lnTo>
                <a:lnTo>
                  <a:pt x="2274" y="2391"/>
                </a:lnTo>
                <a:lnTo>
                  <a:pt x="2243" y="2415"/>
                </a:lnTo>
                <a:lnTo>
                  <a:pt x="2212" y="2436"/>
                </a:lnTo>
                <a:lnTo>
                  <a:pt x="2181" y="2455"/>
                </a:lnTo>
                <a:lnTo>
                  <a:pt x="2160" y="2441"/>
                </a:lnTo>
                <a:lnTo>
                  <a:pt x="2129" y="2611"/>
                </a:lnTo>
                <a:lnTo>
                  <a:pt x="999" y="2611"/>
                </a:lnTo>
                <a:lnTo>
                  <a:pt x="955" y="2378"/>
                </a:lnTo>
                <a:lnTo>
                  <a:pt x="954" y="2379"/>
                </a:lnTo>
                <a:lnTo>
                  <a:pt x="915" y="2338"/>
                </a:lnTo>
                <a:lnTo>
                  <a:pt x="876" y="2293"/>
                </a:lnTo>
                <a:lnTo>
                  <a:pt x="839" y="2245"/>
                </a:lnTo>
                <a:lnTo>
                  <a:pt x="807" y="2195"/>
                </a:lnTo>
                <a:lnTo>
                  <a:pt x="355" y="2195"/>
                </a:lnTo>
                <a:close/>
                <a:moveTo>
                  <a:pt x="941" y="1913"/>
                </a:moveTo>
                <a:lnTo>
                  <a:pt x="1058" y="2541"/>
                </a:lnTo>
                <a:lnTo>
                  <a:pt x="2070" y="2541"/>
                </a:lnTo>
                <a:lnTo>
                  <a:pt x="2187" y="1913"/>
                </a:lnTo>
                <a:lnTo>
                  <a:pt x="941" y="1913"/>
                </a:lnTo>
                <a:close/>
                <a:moveTo>
                  <a:pt x="1152" y="1734"/>
                </a:moveTo>
                <a:lnTo>
                  <a:pt x="1151" y="1735"/>
                </a:lnTo>
                <a:lnTo>
                  <a:pt x="1146" y="1740"/>
                </a:lnTo>
                <a:lnTo>
                  <a:pt x="1139" y="1746"/>
                </a:lnTo>
                <a:lnTo>
                  <a:pt x="1130" y="1755"/>
                </a:lnTo>
                <a:lnTo>
                  <a:pt x="1119" y="1765"/>
                </a:lnTo>
                <a:lnTo>
                  <a:pt x="1107" y="1778"/>
                </a:lnTo>
                <a:lnTo>
                  <a:pt x="1093" y="1792"/>
                </a:lnTo>
                <a:lnTo>
                  <a:pt x="1172" y="1799"/>
                </a:lnTo>
                <a:lnTo>
                  <a:pt x="1152" y="1734"/>
                </a:lnTo>
                <a:close/>
                <a:moveTo>
                  <a:pt x="1970" y="1676"/>
                </a:moveTo>
                <a:lnTo>
                  <a:pt x="1959" y="1740"/>
                </a:lnTo>
                <a:lnTo>
                  <a:pt x="1949" y="1800"/>
                </a:lnTo>
                <a:lnTo>
                  <a:pt x="2103" y="1787"/>
                </a:lnTo>
                <a:lnTo>
                  <a:pt x="2081" y="1765"/>
                </a:lnTo>
                <a:lnTo>
                  <a:pt x="2060" y="1746"/>
                </a:lnTo>
                <a:lnTo>
                  <a:pt x="2039" y="1728"/>
                </a:lnTo>
                <a:lnTo>
                  <a:pt x="2021" y="1714"/>
                </a:lnTo>
                <a:lnTo>
                  <a:pt x="2004" y="1700"/>
                </a:lnTo>
                <a:lnTo>
                  <a:pt x="1990" y="1691"/>
                </a:lnTo>
                <a:lnTo>
                  <a:pt x="1979" y="1683"/>
                </a:lnTo>
                <a:lnTo>
                  <a:pt x="1972" y="1678"/>
                </a:lnTo>
                <a:lnTo>
                  <a:pt x="1970" y="1676"/>
                </a:lnTo>
                <a:close/>
                <a:moveTo>
                  <a:pt x="1713" y="330"/>
                </a:moveTo>
                <a:lnTo>
                  <a:pt x="1708" y="352"/>
                </a:lnTo>
                <a:lnTo>
                  <a:pt x="1698" y="373"/>
                </a:lnTo>
                <a:lnTo>
                  <a:pt x="1682" y="392"/>
                </a:lnTo>
                <a:lnTo>
                  <a:pt x="1661" y="410"/>
                </a:lnTo>
                <a:lnTo>
                  <a:pt x="1637" y="427"/>
                </a:lnTo>
                <a:lnTo>
                  <a:pt x="1609" y="442"/>
                </a:lnTo>
                <a:lnTo>
                  <a:pt x="1576" y="456"/>
                </a:lnTo>
                <a:lnTo>
                  <a:pt x="1542" y="469"/>
                </a:lnTo>
                <a:lnTo>
                  <a:pt x="1505" y="480"/>
                </a:lnTo>
                <a:lnTo>
                  <a:pt x="1467" y="491"/>
                </a:lnTo>
                <a:lnTo>
                  <a:pt x="1426" y="501"/>
                </a:lnTo>
                <a:lnTo>
                  <a:pt x="1386" y="509"/>
                </a:lnTo>
                <a:lnTo>
                  <a:pt x="1345" y="518"/>
                </a:lnTo>
                <a:lnTo>
                  <a:pt x="1304" y="525"/>
                </a:lnTo>
                <a:lnTo>
                  <a:pt x="1263" y="530"/>
                </a:lnTo>
                <a:lnTo>
                  <a:pt x="1224" y="536"/>
                </a:lnTo>
                <a:lnTo>
                  <a:pt x="1186" y="541"/>
                </a:lnTo>
                <a:lnTo>
                  <a:pt x="1150" y="545"/>
                </a:lnTo>
                <a:lnTo>
                  <a:pt x="1117" y="548"/>
                </a:lnTo>
                <a:lnTo>
                  <a:pt x="1087" y="551"/>
                </a:lnTo>
                <a:lnTo>
                  <a:pt x="1060" y="553"/>
                </a:lnTo>
                <a:lnTo>
                  <a:pt x="1037" y="554"/>
                </a:lnTo>
                <a:lnTo>
                  <a:pt x="1034" y="581"/>
                </a:lnTo>
                <a:lnTo>
                  <a:pt x="1032" y="609"/>
                </a:lnTo>
                <a:lnTo>
                  <a:pt x="1034" y="665"/>
                </a:lnTo>
                <a:lnTo>
                  <a:pt x="1043" y="719"/>
                </a:lnTo>
                <a:lnTo>
                  <a:pt x="1057" y="772"/>
                </a:lnTo>
                <a:lnTo>
                  <a:pt x="1074" y="821"/>
                </a:lnTo>
                <a:lnTo>
                  <a:pt x="1098" y="869"/>
                </a:lnTo>
                <a:lnTo>
                  <a:pt x="1125" y="915"/>
                </a:lnTo>
                <a:lnTo>
                  <a:pt x="1157" y="956"/>
                </a:lnTo>
                <a:lnTo>
                  <a:pt x="1192" y="994"/>
                </a:lnTo>
                <a:lnTo>
                  <a:pt x="1232" y="1030"/>
                </a:lnTo>
                <a:lnTo>
                  <a:pt x="1274" y="1062"/>
                </a:lnTo>
                <a:lnTo>
                  <a:pt x="1319" y="1089"/>
                </a:lnTo>
                <a:lnTo>
                  <a:pt x="1366" y="1112"/>
                </a:lnTo>
                <a:lnTo>
                  <a:pt x="1417" y="1130"/>
                </a:lnTo>
                <a:lnTo>
                  <a:pt x="1417" y="1337"/>
                </a:lnTo>
                <a:lnTo>
                  <a:pt x="1362" y="1351"/>
                </a:lnTo>
                <a:lnTo>
                  <a:pt x="1575" y="1756"/>
                </a:lnTo>
                <a:lnTo>
                  <a:pt x="1794" y="1363"/>
                </a:lnTo>
                <a:lnTo>
                  <a:pt x="1723" y="1330"/>
                </a:lnTo>
                <a:lnTo>
                  <a:pt x="1722" y="1330"/>
                </a:lnTo>
                <a:lnTo>
                  <a:pt x="1722" y="1136"/>
                </a:lnTo>
                <a:lnTo>
                  <a:pt x="1775" y="1119"/>
                </a:lnTo>
                <a:lnTo>
                  <a:pt x="1826" y="1097"/>
                </a:lnTo>
                <a:lnTo>
                  <a:pt x="1874" y="1070"/>
                </a:lnTo>
                <a:lnTo>
                  <a:pt x="1918" y="1039"/>
                </a:lnTo>
                <a:lnTo>
                  <a:pt x="1958" y="1004"/>
                </a:lnTo>
                <a:lnTo>
                  <a:pt x="1996" y="964"/>
                </a:lnTo>
                <a:lnTo>
                  <a:pt x="2029" y="922"/>
                </a:lnTo>
                <a:lnTo>
                  <a:pt x="2058" y="875"/>
                </a:lnTo>
                <a:lnTo>
                  <a:pt x="2082" y="827"/>
                </a:lnTo>
                <a:lnTo>
                  <a:pt x="2101" y="775"/>
                </a:lnTo>
                <a:lnTo>
                  <a:pt x="2116" y="721"/>
                </a:lnTo>
                <a:lnTo>
                  <a:pt x="2124" y="665"/>
                </a:lnTo>
                <a:lnTo>
                  <a:pt x="2104" y="660"/>
                </a:lnTo>
                <a:lnTo>
                  <a:pt x="2082" y="650"/>
                </a:lnTo>
                <a:lnTo>
                  <a:pt x="2057" y="638"/>
                </a:lnTo>
                <a:lnTo>
                  <a:pt x="2030" y="622"/>
                </a:lnTo>
                <a:lnTo>
                  <a:pt x="2002" y="604"/>
                </a:lnTo>
                <a:lnTo>
                  <a:pt x="1972" y="583"/>
                </a:lnTo>
                <a:lnTo>
                  <a:pt x="1943" y="560"/>
                </a:lnTo>
                <a:lnTo>
                  <a:pt x="1913" y="537"/>
                </a:lnTo>
                <a:lnTo>
                  <a:pt x="1883" y="513"/>
                </a:lnTo>
                <a:lnTo>
                  <a:pt x="1855" y="487"/>
                </a:lnTo>
                <a:lnTo>
                  <a:pt x="1827" y="462"/>
                </a:lnTo>
                <a:lnTo>
                  <a:pt x="1801" y="437"/>
                </a:lnTo>
                <a:lnTo>
                  <a:pt x="1777" y="412"/>
                </a:lnTo>
                <a:lnTo>
                  <a:pt x="1757" y="389"/>
                </a:lnTo>
                <a:lnTo>
                  <a:pt x="1738" y="367"/>
                </a:lnTo>
                <a:lnTo>
                  <a:pt x="1723" y="348"/>
                </a:lnTo>
                <a:lnTo>
                  <a:pt x="1713" y="330"/>
                </a:lnTo>
                <a:close/>
                <a:moveTo>
                  <a:pt x="1565" y="0"/>
                </a:moveTo>
                <a:lnTo>
                  <a:pt x="1626" y="2"/>
                </a:lnTo>
                <a:lnTo>
                  <a:pt x="1683" y="8"/>
                </a:lnTo>
                <a:lnTo>
                  <a:pt x="1736" y="17"/>
                </a:lnTo>
                <a:lnTo>
                  <a:pt x="1785" y="31"/>
                </a:lnTo>
                <a:lnTo>
                  <a:pt x="1831" y="47"/>
                </a:lnTo>
                <a:lnTo>
                  <a:pt x="1874" y="67"/>
                </a:lnTo>
                <a:lnTo>
                  <a:pt x="1913" y="90"/>
                </a:lnTo>
                <a:lnTo>
                  <a:pt x="1948" y="115"/>
                </a:lnTo>
                <a:lnTo>
                  <a:pt x="1981" y="143"/>
                </a:lnTo>
                <a:lnTo>
                  <a:pt x="2012" y="173"/>
                </a:lnTo>
                <a:lnTo>
                  <a:pt x="2039" y="205"/>
                </a:lnTo>
                <a:lnTo>
                  <a:pt x="2064" y="239"/>
                </a:lnTo>
                <a:lnTo>
                  <a:pt x="2087" y="274"/>
                </a:lnTo>
                <a:lnTo>
                  <a:pt x="2108" y="311"/>
                </a:lnTo>
                <a:lnTo>
                  <a:pt x="2125" y="350"/>
                </a:lnTo>
                <a:lnTo>
                  <a:pt x="2141" y="389"/>
                </a:lnTo>
                <a:lnTo>
                  <a:pt x="2154" y="429"/>
                </a:lnTo>
                <a:lnTo>
                  <a:pt x="2167" y="469"/>
                </a:lnTo>
                <a:lnTo>
                  <a:pt x="2177" y="510"/>
                </a:lnTo>
                <a:lnTo>
                  <a:pt x="2185" y="551"/>
                </a:lnTo>
                <a:lnTo>
                  <a:pt x="2192" y="592"/>
                </a:lnTo>
                <a:lnTo>
                  <a:pt x="2198" y="633"/>
                </a:lnTo>
                <a:lnTo>
                  <a:pt x="2203" y="672"/>
                </a:lnTo>
                <a:lnTo>
                  <a:pt x="2206" y="712"/>
                </a:lnTo>
                <a:lnTo>
                  <a:pt x="2208" y="750"/>
                </a:lnTo>
                <a:lnTo>
                  <a:pt x="2210" y="787"/>
                </a:lnTo>
                <a:lnTo>
                  <a:pt x="2211" y="823"/>
                </a:lnTo>
                <a:lnTo>
                  <a:pt x="2211" y="858"/>
                </a:lnTo>
                <a:lnTo>
                  <a:pt x="2210" y="890"/>
                </a:lnTo>
                <a:lnTo>
                  <a:pt x="2210" y="921"/>
                </a:lnTo>
                <a:lnTo>
                  <a:pt x="2209" y="949"/>
                </a:lnTo>
                <a:lnTo>
                  <a:pt x="2208" y="975"/>
                </a:lnTo>
                <a:lnTo>
                  <a:pt x="2207" y="998"/>
                </a:lnTo>
                <a:lnTo>
                  <a:pt x="2203" y="1067"/>
                </a:lnTo>
                <a:lnTo>
                  <a:pt x="2198" y="1134"/>
                </a:lnTo>
                <a:lnTo>
                  <a:pt x="2192" y="1199"/>
                </a:lnTo>
                <a:lnTo>
                  <a:pt x="2186" y="1260"/>
                </a:lnTo>
                <a:lnTo>
                  <a:pt x="2179" y="1315"/>
                </a:lnTo>
                <a:lnTo>
                  <a:pt x="2173" y="1362"/>
                </a:lnTo>
                <a:lnTo>
                  <a:pt x="2174" y="1364"/>
                </a:lnTo>
                <a:lnTo>
                  <a:pt x="2178" y="1372"/>
                </a:lnTo>
                <a:lnTo>
                  <a:pt x="2185" y="1382"/>
                </a:lnTo>
                <a:lnTo>
                  <a:pt x="2193" y="1398"/>
                </a:lnTo>
                <a:lnTo>
                  <a:pt x="2204" y="1416"/>
                </a:lnTo>
                <a:lnTo>
                  <a:pt x="2216" y="1437"/>
                </a:lnTo>
                <a:lnTo>
                  <a:pt x="2230" y="1462"/>
                </a:lnTo>
                <a:lnTo>
                  <a:pt x="2245" y="1490"/>
                </a:lnTo>
                <a:lnTo>
                  <a:pt x="2261" y="1520"/>
                </a:lnTo>
                <a:lnTo>
                  <a:pt x="2277" y="1552"/>
                </a:lnTo>
                <a:lnTo>
                  <a:pt x="2294" y="1587"/>
                </a:lnTo>
                <a:lnTo>
                  <a:pt x="2311" y="1622"/>
                </a:lnTo>
                <a:lnTo>
                  <a:pt x="2328" y="1661"/>
                </a:lnTo>
                <a:lnTo>
                  <a:pt x="2345" y="1699"/>
                </a:lnTo>
                <a:lnTo>
                  <a:pt x="2361" y="1739"/>
                </a:lnTo>
                <a:lnTo>
                  <a:pt x="2376" y="1779"/>
                </a:lnTo>
                <a:lnTo>
                  <a:pt x="2390" y="1819"/>
                </a:lnTo>
                <a:lnTo>
                  <a:pt x="2403" y="1860"/>
                </a:lnTo>
                <a:lnTo>
                  <a:pt x="2414" y="1900"/>
                </a:lnTo>
                <a:lnTo>
                  <a:pt x="2423" y="1941"/>
                </a:lnTo>
                <a:lnTo>
                  <a:pt x="2434" y="1980"/>
                </a:lnTo>
                <a:lnTo>
                  <a:pt x="2440" y="2017"/>
                </a:lnTo>
                <a:lnTo>
                  <a:pt x="2443" y="2054"/>
                </a:lnTo>
                <a:lnTo>
                  <a:pt x="2443" y="2088"/>
                </a:lnTo>
                <a:lnTo>
                  <a:pt x="2711" y="2088"/>
                </a:lnTo>
                <a:lnTo>
                  <a:pt x="2983" y="3239"/>
                </a:lnTo>
                <a:lnTo>
                  <a:pt x="0" y="3239"/>
                </a:lnTo>
                <a:lnTo>
                  <a:pt x="272" y="2088"/>
                </a:lnTo>
                <a:lnTo>
                  <a:pt x="760" y="2088"/>
                </a:lnTo>
                <a:lnTo>
                  <a:pt x="749" y="2050"/>
                </a:lnTo>
                <a:lnTo>
                  <a:pt x="743" y="2012"/>
                </a:lnTo>
                <a:lnTo>
                  <a:pt x="741" y="1973"/>
                </a:lnTo>
                <a:lnTo>
                  <a:pt x="744" y="1933"/>
                </a:lnTo>
                <a:lnTo>
                  <a:pt x="752" y="1893"/>
                </a:lnTo>
                <a:lnTo>
                  <a:pt x="764" y="1854"/>
                </a:lnTo>
                <a:lnTo>
                  <a:pt x="778" y="1813"/>
                </a:lnTo>
                <a:lnTo>
                  <a:pt x="793" y="1773"/>
                </a:lnTo>
                <a:lnTo>
                  <a:pt x="809" y="1733"/>
                </a:lnTo>
                <a:lnTo>
                  <a:pt x="825" y="1696"/>
                </a:lnTo>
                <a:lnTo>
                  <a:pt x="842" y="1660"/>
                </a:lnTo>
                <a:lnTo>
                  <a:pt x="858" y="1626"/>
                </a:lnTo>
                <a:lnTo>
                  <a:pt x="874" y="1593"/>
                </a:lnTo>
                <a:lnTo>
                  <a:pt x="888" y="1563"/>
                </a:lnTo>
                <a:lnTo>
                  <a:pt x="902" y="1536"/>
                </a:lnTo>
                <a:lnTo>
                  <a:pt x="914" y="1514"/>
                </a:lnTo>
                <a:lnTo>
                  <a:pt x="925" y="1493"/>
                </a:lnTo>
                <a:lnTo>
                  <a:pt x="935" y="1477"/>
                </a:lnTo>
                <a:lnTo>
                  <a:pt x="941" y="1465"/>
                </a:lnTo>
                <a:lnTo>
                  <a:pt x="945" y="1458"/>
                </a:lnTo>
                <a:lnTo>
                  <a:pt x="947" y="1456"/>
                </a:lnTo>
                <a:lnTo>
                  <a:pt x="896" y="633"/>
                </a:lnTo>
                <a:lnTo>
                  <a:pt x="896" y="632"/>
                </a:lnTo>
                <a:lnTo>
                  <a:pt x="896" y="627"/>
                </a:lnTo>
                <a:lnTo>
                  <a:pt x="896" y="617"/>
                </a:lnTo>
                <a:lnTo>
                  <a:pt x="897" y="606"/>
                </a:lnTo>
                <a:lnTo>
                  <a:pt x="898" y="591"/>
                </a:lnTo>
                <a:lnTo>
                  <a:pt x="900" y="575"/>
                </a:lnTo>
                <a:lnTo>
                  <a:pt x="902" y="555"/>
                </a:lnTo>
                <a:lnTo>
                  <a:pt x="905" y="534"/>
                </a:lnTo>
                <a:lnTo>
                  <a:pt x="908" y="510"/>
                </a:lnTo>
                <a:lnTo>
                  <a:pt x="913" y="487"/>
                </a:lnTo>
                <a:lnTo>
                  <a:pt x="919" y="460"/>
                </a:lnTo>
                <a:lnTo>
                  <a:pt x="926" y="433"/>
                </a:lnTo>
                <a:lnTo>
                  <a:pt x="936" y="405"/>
                </a:lnTo>
                <a:lnTo>
                  <a:pt x="946" y="376"/>
                </a:lnTo>
                <a:lnTo>
                  <a:pt x="959" y="346"/>
                </a:lnTo>
                <a:lnTo>
                  <a:pt x="973" y="317"/>
                </a:lnTo>
                <a:lnTo>
                  <a:pt x="990" y="287"/>
                </a:lnTo>
                <a:lnTo>
                  <a:pt x="1008" y="258"/>
                </a:lnTo>
                <a:lnTo>
                  <a:pt x="1028" y="229"/>
                </a:lnTo>
                <a:lnTo>
                  <a:pt x="1052" y="200"/>
                </a:lnTo>
                <a:lnTo>
                  <a:pt x="1078" y="173"/>
                </a:lnTo>
                <a:lnTo>
                  <a:pt x="1106" y="147"/>
                </a:lnTo>
                <a:lnTo>
                  <a:pt x="1137" y="122"/>
                </a:lnTo>
                <a:lnTo>
                  <a:pt x="1171" y="98"/>
                </a:lnTo>
                <a:lnTo>
                  <a:pt x="1208" y="77"/>
                </a:lnTo>
                <a:lnTo>
                  <a:pt x="1248" y="58"/>
                </a:lnTo>
                <a:lnTo>
                  <a:pt x="1292" y="41"/>
                </a:lnTo>
                <a:lnTo>
                  <a:pt x="1339" y="26"/>
                </a:lnTo>
                <a:lnTo>
                  <a:pt x="1390" y="15"/>
                </a:lnTo>
                <a:lnTo>
                  <a:pt x="1445" y="7"/>
                </a:lnTo>
                <a:lnTo>
                  <a:pt x="1502" y="2"/>
                </a:lnTo>
                <a:lnTo>
                  <a:pt x="1565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552B6D1-3949-464B-935E-11D310A46C6A}"/>
              </a:ext>
            </a:extLst>
          </p:cNvPr>
          <p:cNvSpPr txBox="1"/>
          <p:nvPr/>
        </p:nvSpPr>
        <p:spPr>
          <a:xfrm>
            <a:off x="3002581" y="3403291"/>
            <a:ext cx="115679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Today’s Consum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237BAB2-46A2-43E9-B5EC-D31CD8012F32}"/>
              </a:ext>
            </a:extLst>
          </p:cNvPr>
          <p:cNvSpPr txBox="1"/>
          <p:nvPr/>
        </p:nvSpPr>
        <p:spPr>
          <a:xfrm>
            <a:off x="3153853" y="2324190"/>
            <a:ext cx="87735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ology </a:t>
            </a:r>
            <a:b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op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C20DA00-A904-4F91-ABBE-79F6344FF978}"/>
              </a:ext>
            </a:extLst>
          </p:cNvPr>
          <p:cNvSpPr txBox="1"/>
          <p:nvPr/>
        </p:nvSpPr>
        <p:spPr>
          <a:xfrm>
            <a:off x="4748635" y="3511621"/>
            <a:ext cx="115692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rehensive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orma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0C4ACD3-3BFB-4114-B9C3-FE1F6704FA55}"/>
              </a:ext>
            </a:extLst>
          </p:cNvPr>
          <p:cNvSpPr txBox="1"/>
          <p:nvPr/>
        </p:nvSpPr>
        <p:spPr>
          <a:xfrm>
            <a:off x="4091848" y="5423541"/>
            <a:ext cx="72295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elling</a:t>
            </a:r>
            <a:b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stomer</a:t>
            </a:r>
            <a:b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erienc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1E86E1B-E216-44BD-A10F-4DE38570B9B4}"/>
              </a:ext>
            </a:extLst>
          </p:cNvPr>
          <p:cNvSpPr txBox="1"/>
          <p:nvPr/>
        </p:nvSpPr>
        <p:spPr>
          <a:xfrm>
            <a:off x="2373601" y="5423541"/>
            <a:ext cx="67005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annel – </a:t>
            </a:r>
            <a:b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nostic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nking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38D4A18-082A-474B-8A72-B06597AB8EF0}"/>
              </a:ext>
            </a:extLst>
          </p:cNvPr>
          <p:cNvSpPr txBox="1"/>
          <p:nvPr/>
        </p:nvSpPr>
        <p:spPr>
          <a:xfrm>
            <a:off x="1451137" y="3511621"/>
            <a:ext cx="81714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opping</a:t>
            </a:r>
            <a:b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venience</a:t>
            </a:r>
          </a:p>
        </p:txBody>
      </p:sp>
      <p:sp>
        <p:nvSpPr>
          <p:cNvPr id="24" name="Arc 23">
            <a:extLst>
              <a:ext uri="{FF2B5EF4-FFF2-40B4-BE49-F238E27FC236}">
                <a16:creationId xmlns:a16="http://schemas.microsoft.com/office/drawing/2014/main" id="{18E4684C-ED22-4D32-88A4-480833423D84}"/>
              </a:ext>
            </a:extLst>
          </p:cNvPr>
          <p:cNvSpPr/>
          <p:nvPr/>
        </p:nvSpPr>
        <p:spPr>
          <a:xfrm rot="21388526">
            <a:off x="2022860" y="2893702"/>
            <a:ext cx="2789874" cy="2268851"/>
          </a:xfrm>
          <a:prstGeom prst="arc">
            <a:avLst>
              <a:gd name="adj1" fmla="val 17852341"/>
              <a:gd name="adj2" fmla="val 20580086"/>
            </a:avLst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Arc 44">
            <a:extLst>
              <a:ext uri="{FF2B5EF4-FFF2-40B4-BE49-F238E27FC236}">
                <a16:creationId xmlns:a16="http://schemas.microsoft.com/office/drawing/2014/main" id="{8985330E-25B0-4404-BD96-0A12AD4F42CC}"/>
              </a:ext>
            </a:extLst>
          </p:cNvPr>
          <p:cNvSpPr/>
          <p:nvPr/>
        </p:nvSpPr>
        <p:spPr>
          <a:xfrm rot="3985465">
            <a:off x="2273881" y="2777927"/>
            <a:ext cx="2789874" cy="2268851"/>
          </a:xfrm>
          <a:prstGeom prst="arc">
            <a:avLst>
              <a:gd name="adj1" fmla="val 17852341"/>
              <a:gd name="adj2" fmla="val 20580086"/>
            </a:avLst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Arc 45">
            <a:extLst>
              <a:ext uri="{FF2B5EF4-FFF2-40B4-BE49-F238E27FC236}">
                <a16:creationId xmlns:a16="http://schemas.microsoft.com/office/drawing/2014/main" id="{D102A7E0-888F-4114-AD56-98822BFB6885}"/>
              </a:ext>
            </a:extLst>
          </p:cNvPr>
          <p:cNvSpPr/>
          <p:nvPr/>
        </p:nvSpPr>
        <p:spPr>
          <a:xfrm rot="8428149">
            <a:off x="2438243" y="3020482"/>
            <a:ext cx="2789874" cy="2268851"/>
          </a:xfrm>
          <a:prstGeom prst="arc">
            <a:avLst>
              <a:gd name="adj1" fmla="val 17852341"/>
              <a:gd name="adj2" fmla="val 20580086"/>
            </a:avLst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Arc 46">
            <a:extLst>
              <a:ext uri="{FF2B5EF4-FFF2-40B4-BE49-F238E27FC236}">
                <a16:creationId xmlns:a16="http://schemas.microsoft.com/office/drawing/2014/main" id="{9E6B10F7-D4B2-466B-81F8-3A5143C4822B}"/>
              </a:ext>
            </a:extLst>
          </p:cNvPr>
          <p:cNvSpPr/>
          <p:nvPr/>
        </p:nvSpPr>
        <p:spPr>
          <a:xfrm rot="12547057">
            <a:off x="2252714" y="3300035"/>
            <a:ext cx="2789874" cy="2268851"/>
          </a:xfrm>
          <a:prstGeom prst="arc">
            <a:avLst>
              <a:gd name="adj1" fmla="val 17852341"/>
              <a:gd name="adj2" fmla="val 20580086"/>
            </a:avLst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Arc 47">
            <a:extLst>
              <a:ext uri="{FF2B5EF4-FFF2-40B4-BE49-F238E27FC236}">
                <a16:creationId xmlns:a16="http://schemas.microsoft.com/office/drawing/2014/main" id="{D16EE0B1-EA76-4CFD-9334-EA5C0E8EFA86}"/>
              </a:ext>
            </a:extLst>
          </p:cNvPr>
          <p:cNvSpPr/>
          <p:nvPr/>
        </p:nvSpPr>
        <p:spPr>
          <a:xfrm rot="16683689">
            <a:off x="1891193" y="3239996"/>
            <a:ext cx="2789874" cy="2268851"/>
          </a:xfrm>
          <a:prstGeom prst="arc">
            <a:avLst>
              <a:gd name="adj1" fmla="val 17852341"/>
              <a:gd name="adj2" fmla="val 20673034"/>
            </a:avLst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A270A67-6AF1-4EDB-8CA7-0EB8A9421B40}"/>
              </a:ext>
            </a:extLst>
          </p:cNvPr>
          <p:cNvSpPr txBox="1"/>
          <p:nvPr/>
        </p:nvSpPr>
        <p:spPr>
          <a:xfrm>
            <a:off x="293379" y="557831"/>
            <a:ext cx="9353188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IN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day’s Consumer</a:t>
            </a: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1A50E7CF-82C9-4410-BB2D-C4067D1EFE62}"/>
              </a:ext>
            </a:extLst>
          </p:cNvPr>
          <p:cNvSpPr>
            <a:spLocks/>
          </p:cNvSpPr>
          <p:nvPr/>
        </p:nvSpPr>
        <p:spPr>
          <a:xfrm>
            <a:off x="-562826" y="301819"/>
            <a:ext cx="10926025" cy="1004467"/>
          </a:xfrm>
          <a:prstGeom prst="parallelogram">
            <a:avLst>
              <a:gd name="adj" fmla="val 42902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>
              <a:solidFill>
                <a:srgbClr val="FFFFFF"/>
              </a:solidFill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8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313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grayscl/>
          </a:blip>
          <a:stretch>
            <a:fillRect/>
          </a:stretch>
        </p:blipFill>
        <p:spPr>
          <a:xfrm>
            <a:off x="-1" y="0"/>
            <a:ext cx="12203648" cy="6858984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4956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26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7" name="Rectangle 276">
            <a:extLst>
              <a:ext uri="{FF2B5EF4-FFF2-40B4-BE49-F238E27FC236}">
                <a16:creationId xmlns:a16="http://schemas.microsoft.com/office/drawing/2014/main" id="{7E09A343-6BD1-4BF1-BF1E-23C6E7A1806D}"/>
              </a:ext>
            </a:extLst>
          </p:cNvPr>
          <p:cNvSpPr/>
          <p:nvPr/>
        </p:nvSpPr>
        <p:spPr>
          <a:xfrm>
            <a:off x="-1" y="0"/>
            <a:ext cx="12203648" cy="6858984"/>
          </a:xfrm>
          <a:prstGeom prst="rect">
            <a:avLst/>
          </a:prstGeom>
          <a:solidFill>
            <a:schemeClr val="tx1">
              <a:lumMod val="50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A270A67-6AF1-4EDB-8CA7-0EB8A9421B40}"/>
              </a:ext>
            </a:extLst>
          </p:cNvPr>
          <p:cNvSpPr txBox="1"/>
          <p:nvPr/>
        </p:nvSpPr>
        <p:spPr>
          <a:xfrm>
            <a:off x="293379" y="557831"/>
            <a:ext cx="9353188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IN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h to Purchase</a:t>
            </a: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1A50E7CF-82C9-4410-BB2D-C4067D1EFE62}"/>
              </a:ext>
            </a:extLst>
          </p:cNvPr>
          <p:cNvSpPr>
            <a:spLocks/>
          </p:cNvSpPr>
          <p:nvPr/>
        </p:nvSpPr>
        <p:spPr>
          <a:xfrm>
            <a:off x="-562826" y="301819"/>
            <a:ext cx="10926025" cy="1004467"/>
          </a:xfrm>
          <a:prstGeom prst="parallelogram">
            <a:avLst>
              <a:gd name="adj" fmla="val 42902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442" name="Freeform 107">
            <a:extLst>
              <a:ext uri="{FF2B5EF4-FFF2-40B4-BE49-F238E27FC236}">
                <a16:creationId xmlns:a16="http://schemas.microsoft.com/office/drawing/2014/main" id="{09211C5A-934B-451D-AD19-D46A10445748}"/>
              </a:ext>
            </a:extLst>
          </p:cNvPr>
          <p:cNvSpPr>
            <a:spLocks noEditPoints="1"/>
          </p:cNvSpPr>
          <p:nvPr/>
        </p:nvSpPr>
        <p:spPr bwMode="auto">
          <a:xfrm>
            <a:off x="3271838" y="960438"/>
            <a:ext cx="5648325" cy="4795838"/>
          </a:xfrm>
          <a:custGeom>
            <a:avLst/>
            <a:gdLst>
              <a:gd name="T0" fmla="*/ 1424 w 3558"/>
              <a:gd name="T1" fmla="*/ 3021 h 3021"/>
              <a:gd name="T2" fmla="*/ 1424 w 3558"/>
              <a:gd name="T3" fmla="*/ 1956 h 3021"/>
              <a:gd name="T4" fmla="*/ 2137 w 3558"/>
              <a:gd name="T5" fmla="*/ 1956 h 3021"/>
              <a:gd name="T6" fmla="*/ 2137 w 3558"/>
              <a:gd name="T7" fmla="*/ 3021 h 3021"/>
              <a:gd name="T8" fmla="*/ 3026 w 3558"/>
              <a:gd name="T9" fmla="*/ 3021 h 3021"/>
              <a:gd name="T10" fmla="*/ 3026 w 3558"/>
              <a:gd name="T11" fmla="*/ 1599 h 3021"/>
              <a:gd name="T12" fmla="*/ 3558 w 3558"/>
              <a:gd name="T13" fmla="*/ 1599 h 3021"/>
              <a:gd name="T14" fmla="*/ 1779 w 3558"/>
              <a:gd name="T15" fmla="*/ 0 h 3021"/>
              <a:gd name="T16" fmla="*/ 0 w 3558"/>
              <a:gd name="T17" fmla="*/ 1599 h 3021"/>
              <a:gd name="T18" fmla="*/ 534 w 3558"/>
              <a:gd name="T19" fmla="*/ 1599 h 3021"/>
              <a:gd name="T20" fmla="*/ 534 w 3558"/>
              <a:gd name="T21" fmla="*/ 3021 h 3021"/>
              <a:gd name="T22" fmla="*/ 1424 w 3558"/>
              <a:gd name="T23" fmla="*/ 3021 h 3021"/>
              <a:gd name="T24" fmla="*/ 1424 w 3558"/>
              <a:gd name="T25" fmla="*/ 3021 h 3021"/>
              <a:gd name="T26" fmla="*/ 1424 w 3558"/>
              <a:gd name="T27" fmla="*/ 3021 h 30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558" h="3021">
                <a:moveTo>
                  <a:pt x="1424" y="3021"/>
                </a:moveTo>
                <a:lnTo>
                  <a:pt x="1424" y="1956"/>
                </a:lnTo>
                <a:lnTo>
                  <a:pt x="2137" y="1956"/>
                </a:lnTo>
                <a:lnTo>
                  <a:pt x="2137" y="3021"/>
                </a:lnTo>
                <a:lnTo>
                  <a:pt x="3026" y="3021"/>
                </a:lnTo>
                <a:lnTo>
                  <a:pt x="3026" y="1599"/>
                </a:lnTo>
                <a:lnTo>
                  <a:pt x="3558" y="1599"/>
                </a:lnTo>
                <a:lnTo>
                  <a:pt x="1779" y="0"/>
                </a:lnTo>
                <a:lnTo>
                  <a:pt x="0" y="1599"/>
                </a:lnTo>
                <a:lnTo>
                  <a:pt x="534" y="1599"/>
                </a:lnTo>
                <a:lnTo>
                  <a:pt x="534" y="3021"/>
                </a:lnTo>
                <a:lnTo>
                  <a:pt x="1424" y="3021"/>
                </a:lnTo>
                <a:moveTo>
                  <a:pt x="1424" y="3021"/>
                </a:moveTo>
                <a:lnTo>
                  <a:pt x="1424" y="302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FA9D9E1F-DBE5-4660-AF72-C6204B8C877D}"/>
              </a:ext>
            </a:extLst>
          </p:cNvPr>
          <p:cNvSpPr/>
          <p:nvPr/>
        </p:nvSpPr>
        <p:spPr>
          <a:xfrm>
            <a:off x="1346068" y="1497987"/>
            <a:ext cx="9751215" cy="5360013"/>
          </a:xfrm>
          <a:custGeom>
            <a:avLst/>
            <a:gdLst>
              <a:gd name="connsiteX0" fmla="*/ 1 w 9751215"/>
              <a:gd name="connsiteY0" fmla="*/ 1781038 h 5360013"/>
              <a:gd name="connsiteX1" fmla="*/ 246822 w 9751215"/>
              <a:gd name="connsiteY1" fmla="*/ 1781038 h 5360013"/>
              <a:gd name="connsiteX2" fmla="*/ 246822 w 9751215"/>
              <a:gd name="connsiteY2" fmla="*/ 1781039 h 5360013"/>
              <a:gd name="connsiteX3" fmla="*/ 8156709 w 9751215"/>
              <a:gd name="connsiteY3" fmla="*/ 1781039 h 5360013"/>
              <a:gd name="connsiteX4" fmla="*/ 8399208 w 9751215"/>
              <a:gd name="connsiteY4" fmla="*/ 1781039 h 5360013"/>
              <a:gd name="connsiteX5" fmla="*/ 8303840 w 9751215"/>
              <a:gd name="connsiteY5" fmla="*/ 2028775 h 5360013"/>
              <a:gd name="connsiteX6" fmla="*/ 8061872 w 9751215"/>
              <a:gd name="connsiteY6" fmla="*/ 2028534 h 5360013"/>
              <a:gd name="connsiteX7" fmla="*/ 246822 w 9751215"/>
              <a:gd name="connsiteY7" fmla="*/ 2020732 h 5360013"/>
              <a:gd name="connsiteX8" fmla="*/ 246822 w 9751215"/>
              <a:gd name="connsiteY8" fmla="*/ 3576473 h 5360013"/>
              <a:gd name="connsiteX9" fmla="*/ 8026354 w 9751215"/>
              <a:gd name="connsiteY9" fmla="*/ 3576473 h 5360013"/>
              <a:gd name="connsiteX10" fmla="*/ 8026355 w 9751215"/>
              <a:gd name="connsiteY10" fmla="*/ 3576473 h 5360013"/>
              <a:gd name="connsiteX11" fmla="*/ 8289913 w 9751215"/>
              <a:gd name="connsiteY11" fmla="*/ 3576473 h 5360013"/>
              <a:gd name="connsiteX12" fmla="*/ 8187869 w 9751215"/>
              <a:gd name="connsiteY12" fmla="*/ 3823538 h 5360013"/>
              <a:gd name="connsiteX13" fmla="*/ 8187870 w 9751215"/>
              <a:gd name="connsiteY13" fmla="*/ 3823538 h 5360013"/>
              <a:gd name="connsiteX14" fmla="*/ 7553262 w 9751215"/>
              <a:gd name="connsiteY14" fmla="*/ 5360013 h 5360013"/>
              <a:gd name="connsiteX15" fmla="*/ 7293081 w 9751215"/>
              <a:gd name="connsiteY15" fmla="*/ 5360013 h 5360013"/>
              <a:gd name="connsiteX16" fmla="*/ 7924878 w 9751215"/>
              <a:gd name="connsiteY16" fmla="*/ 3823294 h 5360013"/>
              <a:gd name="connsiteX17" fmla="*/ 7924877 w 9751215"/>
              <a:gd name="connsiteY17" fmla="*/ 3823294 h 5360013"/>
              <a:gd name="connsiteX18" fmla="*/ 246822 w 9751215"/>
              <a:gd name="connsiteY18" fmla="*/ 3816149 h 5360013"/>
              <a:gd name="connsiteX19" fmla="*/ 246822 w 9751215"/>
              <a:gd name="connsiteY19" fmla="*/ 3823293 h 5360013"/>
              <a:gd name="connsiteX20" fmla="*/ 1 w 9751215"/>
              <a:gd name="connsiteY20" fmla="*/ 3823293 h 5360013"/>
              <a:gd name="connsiteX21" fmla="*/ 1 w 9751215"/>
              <a:gd name="connsiteY21" fmla="*/ 3815919 h 5360013"/>
              <a:gd name="connsiteX22" fmla="*/ 1 w 9751215"/>
              <a:gd name="connsiteY22" fmla="*/ 3815919 h 5360013"/>
              <a:gd name="connsiteX23" fmla="*/ 1 w 9751215"/>
              <a:gd name="connsiteY23" fmla="*/ 3576473 h 5360013"/>
              <a:gd name="connsiteX24" fmla="*/ 1 w 9751215"/>
              <a:gd name="connsiteY24" fmla="*/ 3576473 h 5360013"/>
              <a:gd name="connsiteX25" fmla="*/ 1 w 9751215"/>
              <a:gd name="connsiteY25" fmla="*/ 2020485 h 5360013"/>
              <a:gd name="connsiteX26" fmla="*/ 0 w 9751215"/>
              <a:gd name="connsiteY26" fmla="*/ 2020485 h 5360013"/>
              <a:gd name="connsiteX27" fmla="*/ 0 w 9751215"/>
              <a:gd name="connsiteY27" fmla="*/ 1781039 h 5360013"/>
              <a:gd name="connsiteX28" fmla="*/ 1 w 9751215"/>
              <a:gd name="connsiteY28" fmla="*/ 1781039 h 5360013"/>
              <a:gd name="connsiteX29" fmla="*/ 9751215 w 9751215"/>
              <a:gd name="connsiteY29" fmla="*/ 0 h 5360013"/>
              <a:gd name="connsiteX30" fmla="*/ 9011661 w 9751215"/>
              <a:gd name="connsiteY30" fmla="*/ 1790564 h 5360013"/>
              <a:gd name="connsiteX31" fmla="*/ 9011250 w 9751215"/>
              <a:gd name="connsiteY31" fmla="*/ 1790564 h 5360013"/>
              <a:gd name="connsiteX32" fmla="*/ 8906547 w 9751215"/>
              <a:gd name="connsiteY32" fmla="*/ 2026275 h 5360013"/>
              <a:gd name="connsiteX33" fmla="*/ 8303840 w 9751215"/>
              <a:gd name="connsiteY33" fmla="*/ 2028775 h 5360013"/>
              <a:gd name="connsiteX34" fmla="*/ 8399209 w 9751215"/>
              <a:gd name="connsiteY34" fmla="*/ 1781039 h 5360013"/>
              <a:gd name="connsiteX35" fmla="*/ 8753887 w 9751215"/>
              <a:gd name="connsiteY35" fmla="*/ 1784711 h 5360013"/>
              <a:gd name="connsiteX36" fmla="*/ 9383693 w 9751215"/>
              <a:gd name="connsiteY36" fmla="*/ 252833 h 5360013"/>
              <a:gd name="connsiteX37" fmla="*/ 0 w 9751215"/>
              <a:gd name="connsiteY37" fmla="*/ 244102 h 5360013"/>
              <a:gd name="connsiteX38" fmla="*/ 0 w 9751215"/>
              <a:gd name="connsiteY38" fmla="*/ 4656 h 5360013"/>
              <a:gd name="connsiteX39" fmla="*/ 9485728 w 9751215"/>
              <a:gd name="connsiteY39" fmla="*/ 4656 h 5360013"/>
              <a:gd name="connsiteX40" fmla="*/ 9486894 w 9751215"/>
              <a:gd name="connsiteY40" fmla="*/ 1819 h 5360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9751215" h="5360013">
                <a:moveTo>
                  <a:pt x="1" y="1781038"/>
                </a:moveTo>
                <a:lnTo>
                  <a:pt x="246822" y="1781038"/>
                </a:lnTo>
                <a:lnTo>
                  <a:pt x="246822" y="1781039"/>
                </a:lnTo>
                <a:lnTo>
                  <a:pt x="8156709" y="1781039"/>
                </a:lnTo>
                <a:lnTo>
                  <a:pt x="8399208" y="1781039"/>
                </a:lnTo>
                <a:lnTo>
                  <a:pt x="8303840" y="2028775"/>
                </a:lnTo>
                <a:lnTo>
                  <a:pt x="8061872" y="2028534"/>
                </a:lnTo>
                <a:lnTo>
                  <a:pt x="246822" y="2020732"/>
                </a:lnTo>
                <a:lnTo>
                  <a:pt x="246822" y="3576473"/>
                </a:lnTo>
                <a:lnTo>
                  <a:pt x="8026354" y="3576473"/>
                </a:lnTo>
                <a:lnTo>
                  <a:pt x="8026355" y="3576473"/>
                </a:lnTo>
                <a:lnTo>
                  <a:pt x="8289913" y="3576473"/>
                </a:lnTo>
                <a:lnTo>
                  <a:pt x="8187869" y="3823538"/>
                </a:lnTo>
                <a:lnTo>
                  <a:pt x="8187870" y="3823538"/>
                </a:lnTo>
                <a:lnTo>
                  <a:pt x="7553262" y="5360013"/>
                </a:lnTo>
                <a:lnTo>
                  <a:pt x="7293081" y="5360013"/>
                </a:lnTo>
                <a:lnTo>
                  <a:pt x="7924878" y="3823294"/>
                </a:lnTo>
                <a:lnTo>
                  <a:pt x="7924877" y="3823294"/>
                </a:lnTo>
                <a:lnTo>
                  <a:pt x="246822" y="3816149"/>
                </a:lnTo>
                <a:lnTo>
                  <a:pt x="246822" y="3823293"/>
                </a:lnTo>
                <a:lnTo>
                  <a:pt x="1" y="3823293"/>
                </a:lnTo>
                <a:lnTo>
                  <a:pt x="1" y="3815919"/>
                </a:lnTo>
                <a:lnTo>
                  <a:pt x="1" y="3815919"/>
                </a:lnTo>
                <a:lnTo>
                  <a:pt x="1" y="3576473"/>
                </a:lnTo>
                <a:lnTo>
                  <a:pt x="1" y="3576473"/>
                </a:lnTo>
                <a:lnTo>
                  <a:pt x="1" y="2020485"/>
                </a:lnTo>
                <a:lnTo>
                  <a:pt x="0" y="2020485"/>
                </a:lnTo>
                <a:lnTo>
                  <a:pt x="0" y="1781039"/>
                </a:lnTo>
                <a:lnTo>
                  <a:pt x="1" y="1781039"/>
                </a:lnTo>
                <a:close/>
                <a:moveTo>
                  <a:pt x="9751215" y="0"/>
                </a:moveTo>
                <a:lnTo>
                  <a:pt x="9011661" y="1790564"/>
                </a:lnTo>
                <a:lnTo>
                  <a:pt x="9011250" y="1790564"/>
                </a:lnTo>
                <a:lnTo>
                  <a:pt x="8906547" y="2026275"/>
                </a:lnTo>
                <a:lnTo>
                  <a:pt x="8303840" y="2028775"/>
                </a:lnTo>
                <a:lnTo>
                  <a:pt x="8399209" y="1781039"/>
                </a:lnTo>
                <a:lnTo>
                  <a:pt x="8753887" y="1784711"/>
                </a:lnTo>
                <a:lnTo>
                  <a:pt x="9383693" y="252833"/>
                </a:lnTo>
                <a:lnTo>
                  <a:pt x="0" y="244102"/>
                </a:lnTo>
                <a:lnTo>
                  <a:pt x="0" y="4656"/>
                </a:lnTo>
                <a:lnTo>
                  <a:pt x="9485728" y="4656"/>
                </a:lnTo>
                <a:lnTo>
                  <a:pt x="9486894" y="1819"/>
                </a:lnTo>
                <a:close/>
              </a:path>
            </a:pathLst>
          </a:custGeom>
          <a:gradFill flip="none" rotWithShape="1">
            <a:gsLst>
              <a:gs pos="0">
                <a:schemeClr val="bg2">
                  <a:lumMod val="20000"/>
                  <a:lumOff val="80000"/>
                  <a:alpha val="81000"/>
                </a:schemeClr>
              </a:gs>
              <a:gs pos="37000">
                <a:srgbClr val="00B0F0">
                  <a:alpha val="63000"/>
                </a:srgbClr>
              </a:gs>
              <a:gs pos="70000">
                <a:srgbClr val="0070C0">
                  <a:alpha val="62000"/>
                </a:srgbClr>
              </a:gs>
              <a:gs pos="92000">
                <a:srgbClr val="29384C">
                  <a:alpha val="60000"/>
                </a:srgbClr>
              </a:gs>
            </a:gsLst>
            <a:lin ang="54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C8908F08-8751-45DF-A710-55C4E3393361}"/>
              </a:ext>
            </a:extLst>
          </p:cNvPr>
          <p:cNvGrpSpPr/>
          <p:nvPr/>
        </p:nvGrpSpPr>
        <p:grpSpPr>
          <a:xfrm>
            <a:off x="1936580" y="1840233"/>
            <a:ext cx="1421742" cy="1339136"/>
            <a:chOff x="1724175" y="828997"/>
            <a:chExt cx="1650360" cy="1463545"/>
          </a:xfrm>
        </p:grpSpPr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53B4B7A2-9EE5-43BE-924F-57BD613F52B0}"/>
                </a:ext>
              </a:extLst>
            </p:cNvPr>
            <p:cNvSpPr txBox="1"/>
            <p:nvPr/>
          </p:nvSpPr>
          <p:spPr>
            <a:xfrm>
              <a:off x="1781142" y="828997"/>
              <a:ext cx="1537307" cy="17659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5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WHERE TO START?</a:t>
              </a:r>
            </a:p>
          </p:txBody>
        </p:sp>
        <p:sp>
          <p:nvSpPr>
            <p:cNvPr id="146" name="Freeform 42">
              <a:extLst>
                <a:ext uri="{FF2B5EF4-FFF2-40B4-BE49-F238E27FC236}">
                  <a16:creationId xmlns:a16="http://schemas.microsoft.com/office/drawing/2014/main" id="{9A942C6E-3D6E-4DE6-BF43-1C0ECEE69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175" y="1100252"/>
              <a:ext cx="1650360" cy="1192290"/>
            </a:xfrm>
            <a:custGeom>
              <a:avLst/>
              <a:gdLst>
                <a:gd name="T0" fmla="*/ 994 w 994"/>
                <a:gd name="T1" fmla="*/ 636 h 711"/>
                <a:gd name="T2" fmla="*/ 994 w 994"/>
                <a:gd name="T3" fmla="*/ 0 h 711"/>
                <a:gd name="T4" fmla="*/ 0 w 994"/>
                <a:gd name="T5" fmla="*/ 0 h 711"/>
                <a:gd name="T6" fmla="*/ 0 w 994"/>
                <a:gd name="T7" fmla="*/ 636 h 711"/>
                <a:gd name="T8" fmla="*/ 405 w 994"/>
                <a:gd name="T9" fmla="*/ 636 h 711"/>
                <a:gd name="T10" fmla="*/ 405 w 994"/>
                <a:gd name="T11" fmla="*/ 677 h 711"/>
                <a:gd name="T12" fmla="*/ 193 w 994"/>
                <a:gd name="T13" fmla="*/ 677 h 711"/>
                <a:gd name="T14" fmla="*/ 193 w 994"/>
                <a:gd name="T15" fmla="*/ 711 h 711"/>
                <a:gd name="T16" fmla="*/ 788 w 994"/>
                <a:gd name="T17" fmla="*/ 711 h 711"/>
                <a:gd name="T18" fmla="*/ 788 w 994"/>
                <a:gd name="T19" fmla="*/ 677 h 711"/>
                <a:gd name="T20" fmla="*/ 580 w 994"/>
                <a:gd name="T21" fmla="*/ 677 h 711"/>
                <a:gd name="T22" fmla="*/ 580 w 994"/>
                <a:gd name="T23" fmla="*/ 636 h 711"/>
                <a:gd name="T24" fmla="*/ 994 w 994"/>
                <a:gd name="T25" fmla="*/ 636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94" h="711">
                  <a:moveTo>
                    <a:pt x="994" y="636"/>
                  </a:moveTo>
                  <a:lnTo>
                    <a:pt x="994" y="0"/>
                  </a:lnTo>
                  <a:lnTo>
                    <a:pt x="0" y="0"/>
                  </a:lnTo>
                  <a:lnTo>
                    <a:pt x="0" y="636"/>
                  </a:lnTo>
                  <a:lnTo>
                    <a:pt x="405" y="636"/>
                  </a:lnTo>
                  <a:lnTo>
                    <a:pt x="405" y="677"/>
                  </a:lnTo>
                  <a:lnTo>
                    <a:pt x="193" y="677"/>
                  </a:lnTo>
                  <a:lnTo>
                    <a:pt x="193" y="711"/>
                  </a:lnTo>
                  <a:lnTo>
                    <a:pt x="788" y="711"/>
                  </a:lnTo>
                  <a:lnTo>
                    <a:pt x="788" y="677"/>
                  </a:lnTo>
                  <a:lnTo>
                    <a:pt x="580" y="677"/>
                  </a:lnTo>
                  <a:lnTo>
                    <a:pt x="580" y="636"/>
                  </a:lnTo>
                  <a:lnTo>
                    <a:pt x="994" y="636"/>
                  </a:lnTo>
                  <a:close/>
                </a:path>
              </a:pathLst>
            </a:custGeom>
            <a:solidFill>
              <a:srgbClr val="BEDEEF">
                <a:alpha val="74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7" name="Rectangle 43">
              <a:extLst>
                <a:ext uri="{FF2B5EF4-FFF2-40B4-BE49-F238E27FC236}">
                  <a16:creationId xmlns:a16="http://schemas.microsoft.com/office/drawing/2014/main" id="{A0E9BC7E-AD7A-41CB-BC1C-BA3FDC96B7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5379" y="1190806"/>
              <a:ext cx="1407953" cy="875352"/>
            </a:xfrm>
            <a:prstGeom prst="rect">
              <a:avLst/>
            </a:prstGeom>
            <a:solidFill>
              <a:srgbClr val="D7E9F5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DBA8F1C3-9BE8-4871-B98D-73788BEF0FD1}"/>
                </a:ext>
              </a:extLst>
            </p:cNvPr>
            <p:cNvSpPr/>
            <p:nvPr/>
          </p:nvSpPr>
          <p:spPr>
            <a:xfrm>
              <a:off x="1922525" y="1486016"/>
              <a:ext cx="410779" cy="580106"/>
            </a:xfrm>
            <a:prstGeom prst="rect">
              <a:avLst/>
            </a:prstGeom>
            <a:solidFill>
              <a:srgbClr val="4BA1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A837336E-497E-4B28-8F78-FE53E1132E38}"/>
                </a:ext>
              </a:extLst>
            </p:cNvPr>
            <p:cNvSpPr txBox="1"/>
            <p:nvPr/>
          </p:nvSpPr>
          <p:spPr>
            <a:xfrm>
              <a:off x="1976639" y="1886800"/>
              <a:ext cx="302549" cy="1681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3%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16CAF317-9394-40E1-9016-CCD36525DD47}"/>
                </a:ext>
              </a:extLst>
            </p:cNvPr>
            <p:cNvSpPr/>
            <p:nvPr/>
          </p:nvSpPr>
          <p:spPr>
            <a:xfrm>
              <a:off x="2333303" y="1658862"/>
              <a:ext cx="410779" cy="407260"/>
            </a:xfrm>
            <a:prstGeom prst="rect">
              <a:avLst/>
            </a:prstGeom>
            <a:solidFill>
              <a:srgbClr val="84BF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EA3345A3-340A-4BD9-AA93-9214E29879CA}"/>
                </a:ext>
              </a:extLst>
            </p:cNvPr>
            <p:cNvSpPr txBox="1"/>
            <p:nvPr/>
          </p:nvSpPr>
          <p:spPr>
            <a:xfrm>
              <a:off x="2387417" y="1886800"/>
              <a:ext cx="302549" cy="1681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8%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843352B0-E0D5-4D93-9736-9B9D5A4F011C}"/>
                </a:ext>
              </a:extLst>
            </p:cNvPr>
            <p:cNvSpPr/>
            <p:nvPr/>
          </p:nvSpPr>
          <p:spPr>
            <a:xfrm>
              <a:off x="2743761" y="1795673"/>
              <a:ext cx="410779" cy="270449"/>
            </a:xfrm>
            <a:prstGeom prst="rect">
              <a:avLst/>
            </a:prstGeom>
            <a:solidFill>
              <a:srgbClr val="C0D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76F30125-1E00-4197-A1D6-86E9598119A8}"/>
                </a:ext>
              </a:extLst>
            </p:cNvPr>
            <p:cNvSpPr txBox="1"/>
            <p:nvPr/>
          </p:nvSpPr>
          <p:spPr>
            <a:xfrm>
              <a:off x="2797874" y="1886800"/>
              <a:ext cx="302549" cy="1681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9%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8123E3E7-3B26-4D75-AB94-2C253B79769F}"/>
                </a:ext>
              </a:extLst>
            </p:cNvPr>
            <p:cNvSpPr txBox="1"/>
            <p:nvPr/>
          </p:nvSpPr>
          <p:spPr>
            <a:xfrm>
              <a:off x="1904268" y="1302020"/>
              <a:ext cx="604794" cy="1513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500" b="1" dirty="0">
                  <a:solidFill>
                    <a:srgbClr val="0070C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TAILER SITE,</a:t>
              </a:r>
            </a:p>
            <a:p>
              <a:r>
                <a:rPr lang="en-US" sz="400" b="1" dirty="0">
                  <a:solidFill>
                    <a:srgbClr val="0070C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ORE, or CATALOG</a:t>
              </a:r>
              <a:endParaRPr lang="en-US" sz="40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09BAD7EC-B76E-4CE2-8498-FB969B07FF2A}"/>
                </a:ext>
              </a:extLst>
            </p:cNvPr>
            <p:cNvSpPr txBox="1"/>
            <p:nvPr/>
          </p:nvSpPr>
          <p:spPr>
            <a:xfrm>
              <a:off x="2399698" y="1532557"/>
              <a:ext cx="350382" cy="840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400" b="1">
                  <a:solidFill>
                    <a:srgbClr val="1A9CBC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500" dirty="0">
                  <a:solidFill>
                    <a:srgbClr val="0070C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MAZON</a:t>
              </a:r>
            </a:p>
          </p:txBody>
        </p:sp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68556A02-1099-41AE-BB0E-E7083F178814}"/>
                </a:ext>
              </a:extLst>
            </p:cNvPr>
            <p:cNvSpPr txBox="1"/>
            <p:nvPr/>
          </p:nvSpPr>
          <p:spPr>
            <a:xfrm>
              <a:off x="2800472" y="1585745"/>
              <a:ext cx="350382" cy="16818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400" b="1">
                  <a:solidFill>
                    <a:srgbClr val="1A9CBC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sz="500" dirty="0">
                  <a:solidFill>
                    <a:srgbClr val="0070C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EARCH</a:t>
              </a:r>
            </a:p>
            <a:p>
              <a:r>
                <a:rPr lang="en-US" sz="500" dirty="0">
                  <a:solidFill>
                    <a:srgbClr val="0070C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GINE</a:t>
              </a:r>
            </a:p>
          </p:txBody>
        </p:sp>
      </p:grpSp>
      <p:sp>
        <p:nvSpPr>
          <p:cNvPr id="158" name="Rectangle 157">
            <a:extLst>
              <a:ext uri="{FF2B5EF4-FFF2-40B4-BE49-F238E27FC236}">
                <a16:creationId xmlns:a16="http://schemas.microsoft.com/office/drawing/2014/main" id="{39A02CCE-8278-4F14-9D5F-A3F6CB5B8D86}"/>
              </a:ext>
            </a:extLst>
          </p:cNvPr>
          <p:cNvSpPr/>
          <p:nvPr/>
        </p:nvSpPr>
        <p:spPr>
          <a:xfrm>
            <a:off x="7790477" y="2716878"/>
            <a:ext cx="2391642" cy="432243"/>
          </a:xfrm>
          <a:custGeom>
            <a:avLst/>
            <a:gdLst>
              <a:gd name="connsiteX0" fmla="*/ 0 w 2248767"/>
              <a:gd name="connsiteY0" fmla="*/ 0 h 432243"/>
              <a:gd name="connsiteX1" fmla="*/ 2248767 w 2248767"/>
              <a:gd name="connsiteY1" fmla="*/ 0 h 432243"/>
              <a:gd name="connsiteX2" fmla="*/ 2248767 w 2248767"/>
              <a:gd name="connsiteY2" fmla="*/ 432243 h 432243"/>
              <a:gd name="connsiteX3" fmla="*/ 0 w 2248767"/>
              <a:gd name="connsiteY3" fmla="*/ 432243 h 432243"/>
              <a:gd name="connsiteX4" fmla="*/ 0 w 2248767"/>
              <a:gd name="connsiteY4" fmla="*/ 0 h 432243"/>
              <a:gd name="connsiteX0" fmla="*/ 0 w 2391642"/>
              <a:gd name="connsiteY0" fmla="*/ 0 h 432243"/>
              <a:gd name="connsiteX1" fmla="*/ 2391642 w 2391642"/>
              <a:gd name="connsiteY1" fmla="*/ 0 h 432243"/>
              <a:gd name="connsiteX2" fmla="*/ 2248767 w 2391642"/>
              <a:gd name="connsiteY2" fmla="*/ 432243 h 432243"/>
              <a:gd name="connsiteX3" fmla="*/ 0 w 2391642"/>
              <a:gd name="connsiteY3" fmla="*/ 432243 h 432243"/>
              <a:gd name="connsiteX4" fmla="*/ 0 w 2391642"/>
              <a:gd name="connsiteY4" fmla="*/ 0 h 432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91642" h="432243">
                <a:moveTo>
                  <a:pt x="0" y="0"/>
                </a:moveTo>
                <a:lnTo>
                  <a:pt x="2391642" y="0"/>
                </a:lnTo>
                <a:lnTo>
                  <a:pt x="2248767" y="432243"/>
                </a:lnTo>
                <a:lnTo>
                  <a:pt x="0" y="432243"/>
                </a:lnTo>
                <a:lnTo>
                  <a:pt x="0" y="0"/>
                </a:lnTo>
                <a:close/>
              </a:path>
            </a:pathLst>
          </a:custGeom>
          <a:solidFill>
            <a:srgbClr val="B5E9F5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2E9A99F5-54AD-4453-BC47-E356B909E1C4}"/>
              </a:ext>
            </a:extLst>
          </p:cNvPr>
          <p:cNvGrpSpPr/>
          <p:nvPr/>
        </p:nvGrpSpPr>
        <p:grpSpPr>
          <a:xfrm>
            <a:off x="7941478" y="2717556"/>
            <a:ext cx="645167" cy="431565"/>
            <a:chOff x="4737446" y="1854988"/>
            <a:chExt cx="645167" cy="431565"/>
          </a:xfrm>
        </p:grpSpPr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C25D79BD-BFA0-4009-A1B9-944436500CC3}"/>
                </a:ext>
              </a:extLst>
            </p:cNvPr>
            <p:cNvSpPr txBox="1"/>
            <p:nvPr/>
          </p:nvSpPr>
          <p:spPr>
            <a:xfrm>
              <a:off x="4737446" y="1854988"/>
              <a:ext cx="234109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rgbClr val="4BA1D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177" name="TextBox 176">
              <a:extLst>
                <a:ext uri="{FF2B5EF4-FFF2-40B4-BE49-F238E27FC236}">
                  <a16:creationId xmlns:a16="http://schemas.microsoft.com/office/drawing/2014/main" id="{503F46DA-7FF0-4217-861B-B87F9A2DE69F}"/>
                </a:ext>
              </a:extLst>
            </p:cNvPr>
            <p:cNvSpPr txBox="1"/>
            <p:nvPr/>
          </p:nvSpPr>
          <p:spPr>
            <a:xfrm>
              <a:off x="5188962" y="1855666"/>
              <a:ext cx="193651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2800" b="1">
                  <a:solidFill>
                    <a:srgbClr val="137B9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olidFill>
                    <a:srgbClr val="4BA1D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</a:t>
              </a:r>
            </a:p>
          </p:txBody>
        </p:sp>
      </p:grpSp>
      <p:sp>
        <p:nvSpPr>
          <p:cNvPr id="160" name="TextBox 159">
            <a:extLst>
              <a:ext uri="{FF2B5EF4-FFF2-40B4-BE49-F238E27FC236}">
                <a16:creationId xmlns:a16="http://schemas.microsoft.com/office/drawing/2014/main" id="{22DDC742-FABD-48CC-B224-A606512433BB}"/>
              </a:ext>
            </a:extLst>
          </p:cNvPr>
          <p:cNvSpPr txBox="1"/>
          <p:nvPr/>
        </p:nvSpPr>
        <p:spPr>
          <a:xfrm>
            <a:off x="8172260" y="2883960"/>
            <a:ext cx="247215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dirty="0">
                <a:solidFill>
                  <a:srgbClr val="4BA1D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t of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19595F64-0242-4706-8A4D-126CB1AA10A8}"/>
              </a:ext>
            </a:extLst>
          </p:cNvPr>
          <p:cNvSpPr txBox="1"/>
          <p:nvPr/>
        </p:nvSpPr>
        <p:spPr>
          <a:xfrm>
            <a:off x="8600346" y="2809888"/>
            <a:ext cx="13961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dirty="0">
                <a:solidFill>
                  <a:srgbClr val="4BA1D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mers use smartphones in store</a:t>
            </a:r>
          </a:p>
          <a:p>
            <a:r>
              <a:rPr lang="en-US" sz="600" b="1" dirty="0">
                <a:solidFill>
                  <a:srgbClr val="4BA1D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en-US" sz="1000" b="1" dirty="0">
                <a:solidFill>
                  <a:srgbClr val="4BA1D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nd</a:t>
            </a:r>
            <a:r>
              <a:rPr lang="en-US" sz="600" b="1" dirty="0">
                <a:solidFill>
                  <a:srgbClr val="4BA1D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hopping capabilities</a:t>
            </a:r>
            <a:r>
              <a:rPr lang="en-US" sz="700" b="1" dirty="0">
                <a:solidFill>
                  <a:srgbClr val="4BA1D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600" b="1" dirty="0">
              <a:solidFill>
                <a:srgbClr val="4BA1D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83E581F-3109-4E6A-90E9-E5CEB8BCB154}"/>
              </a:ext>
            </a:extLst>
          </p:cNvPr>
          <p:cNvGrpSpPr/>
          <p:nvPr/>
        </p:nvGrpSpPr>
        <p:grpSpPr>
          <a:xfrm>
            <a:off x="8209359" y="1992670"/>
            <a:ext cx="1472424" cy="745756"/>
            <a:chOff x="7367372" y="1874417"/>
            <a:chExt cx="1192665" cy="604063"/>
          </a:xfrm>
        </p:grpSpPr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3D13BD94-D30F-4F4F-B462-F9F5A3A4A93E}"/>
                </a:ext>
              </a:extLst>
            </p:cNvPr>
            <p:cNvGrpSpPr/>
            <p:nvPr/>
          </p:nvGrpSpPr>
          <p:grpSpPr>
            <a:xfrm>
              <a:off x="7500347" y="1928098"/>
              <a:ext cx="868044" cy="496705"/>
              <a:chOff x="13615988" y="-5630951"/>
              <a:chExt cx="4186059" cy="2570250"/>
            </a:xfrm>
          </p:grpSpPr>
          <p:sp>
            <p:nvSpPr>
              <p:cNvPr id="174" name="Freeform 195">
                <a:extLst>
                  <a:ext uri="{FF2B5EF4-FFF2-40B4-BE49-F238E27FC236}">
                    <a16:creationId xmlns:a16="http://schemas.microsoft.com/office/drawing/2014/main" id="{FDC8A81E-0DF9-47D4-84D5-48E31D890D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5988" y="-5618163"/>
                <a:ext cx="4173537" cy="2557462"/>
              </a:xfrm>
              <a:custGeom>
                <a:avLst/>
                <a:gdLst>
                  <a:gd name="T0" fmla="*/ 2629 w 2629"/>
                  <a:gd name="T1" fmla="*/ 0 h 1611"/>
                  <a:gd name="T2" fmla="*/ 0 w 2629"/>
                  <a:gd name="T3" fmla="*/ 0 h 1611"/>
                  <a:gd name="T4" fmla="*/ 2629 w 2629"/>
                  <a:gd name="T5" fmla="*/ 1611 h 1611"/>
                  <a:gd name="T6" fmla="*/ 2629 w 2629"/>
                  <a:gd name="T7" fmla="*/ 0 h 1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29" h="1611">
                    <a:moveTo>
                      <a:pt x="2629" y="0"/>
                    </a:moveTo>
                    <a:lnTo>
                      <a:pt x="0" y="0"/>
                    </a:lnTo>
                    <a:lnTo>
                      <a:pt x="2629" y="1611"/>
                    </a:lnTo>
                    <a:lnTo>
                      <a:pt x="2629" y="0"/>
                    </a:lnTo>
                    <a:close/>
                  </a:path>
                </a:pathLst>
              </a:custGeom>
              <a:solidFill>
                <a:srgbClr val="81B9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" b="1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5" name="Freeform 200">
                <a:extLst>
                  <a:ext uri="{FF2B5EF4-FFF2-40B4-BE49-F238E27FC236}">
                    <a16:creationId xmlns:a16="http://schemas.microsoft.com/office/drawing/2014/main" id="{45BD4E68-BABC-4FC6-90F0-3415ACA924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15989" y="-5630951"/>
                <a:ext cx="4186058" cy="2570249"/>
              </a:xfrm>
              <a:custGeom>
                <a:avLst/>
                <a:gdLst>
                  <a:gd name="T0" fmla="*/ 0 w 2629"/>
                  <a:gd name="T1" fmla="*/ 0 h 1611"/>
                  <a:gd name="T2" fmla="*/ 0 w 2629"/>
                  <a:gd name="T3" fmla="*/ 118 h 1611"/>
                  <a:gd name="T4" fmla="*/ 0 w 2629"/>
                  <a:gd name="T5" fmla="*/ 1611 h 1611"/>
                  <a:gd name="T6" fmla="*/ 2305 w 2629"/>
                  <a:gd name="T7" fmla="*/ 1611 h 1611"/>
                  <a:gd name="T8" fmla="*/ 2629 w 2629"/>
                  <a:gd name="T9" fmla="*/ 1611 h 1611"/>
                  <a:gd name="T10" fmla="*/ 0 w 2629"/>
                  <a:gd name="T11" fmla="*/ 0 h 1611"/>
                  <a:gd name="connsiteX0" fmla="*/ 0 w 10030"/>
                  <a:gd name="connsiteY0" fmla="*/ 0 h 10000"/>
                  <a:gd name="connsiteX1" fmla="*/ 0 w 10030"/>
                  <a:gd name="connsiteY1" fmla="*/ 732 h 10000"/>
                  <a:gd name="connsiteX2" fmla="*/ 0 w 10030"/>
                  <a:gd name="connsiteY2" fmla="*/ 10000 h 10000"/>
                  <a:gd name="connsiteX3" fmla="*/ 8768 w 10030"/>
                  <a:gd name="connsiteY3" fmla="*/ 10000 h 10000"/>
                  <a:gd name="connsiteX4" fmla="*/ 10030 w 10030"/>
                  <a:gd name="connsiteY4" fmla="*/ 9975 h 10000"/>
                  <a:gd name="connsiteX5" fmla="*/ 0 w 10030"/>
                  <a:gd name="connsiteY5" fmla="*/ 0 h 10000"/>
                  <a:gd name="connsiteX0" fmla="*/ 15 w 10030"/>
                  <a:gd name="connsiteY0" fmla="*/ 0 h 10050"/>
                  <a:gd name="connsiteX1" fmla="*/ 0 w 10030"/>
                  <a:gd name="connsiteY1" fmla="*/ 782 h 10050"/>
                  <a:gd name="connsiteX2" fmla="*/ 0 w 10030"/>
                  <a:gd name="connsiteY2" fmla="*/ 10050 h 10050"/>
                  <a:gd name="connsiteX3" fmla="*/ 8768 w 10030"/>
                  <a:gd name="connsiteY3" fmla="*/ 10050 h 10050"/>
                  <a:gd name="connsiteX4" fmla="*/ 10030 w 10030"/>
                  <a:gd name="connsiteY4" fmla="*/ 10025 h 10050"/>
                  <a:gd name="connsiteX5" fmla="*/ 15 w 10030"/>
                  <a:gd name="connsiteY5" fmla="*/ 0 h 1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30" h="10050">
                    <a:moveTo>
                      <a:pt x="15" y="0"/>
                    </a:moveTo>
                    <a:cubicBezTo>
                      <a:pt x="10" y="261"/>
                      <a:pt x="5" y="521"/>
                      <a:pt x="0" y="782"/>
                    </a:cubicBezTo>
                    <a:lnTo>
                      <a:pt x="0" y="10050"/>
                    </a:lnTo>
                    <a:lnTo>
                      <a:pt x="8768" y="10050"/>
                    </a:lnTo>
                    <a:lnTo>
                      <a:pt x="10030" y="10025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6EB2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00" b="1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63" name="Freeform 194">
              <a:extLst>
                <a:ext uri="{FF2B5EF4-FFF2-40B4-BE49-F238E27FC236}">
                  <a16:creationId xmlns:a16="http://schemas.microsoft.com/office/drawing/2014/main" id="{F057BE52-F979-420F-9C3B-2FAB73F949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7372" y="1874417"/>
              <a:ext cx="1192665" cy="604063"/>
            </a:xfrm>
            <a:custGeom>
              <a:avLst/>
              <a:gdLst>
                <a:gd name="T0" fmla="*/ 1743 w 1743"/>
                <a:gd name="T1" fmla="*/ 172 h 947"/>
                <a:gd name="T2" fmla="*/ 1585 w 1743"/>
                <a:gd name="T3" fmla="*/ 0 h 947"/>
                <a:gd name="T4" fmla="*/ 159 w 1743"/>
                <a:gd name="T5" fmla="*/ 0 h 947"/>
                <a:gd name="T6" fmla="*/ 0 w 1743"/>
                <a:gd name="T7" fmla="*/ 172 h 947"/>
                <a:gd name="T8" fmla="*/ 0 w 1743"/>
                <a:gd name="T9" fmla="*/ 775 h 947"/>
                <a:gd name="T10" fmla="*/ 159 w 1743"/>
                <a:gd name="T11" fmla="*/ 947 h 947"/>
                <a:gd name="T12" fmla="*/ 1585 w 1743"/>
                <a:gd name="T13" fmla="*/ 947 h 947"/>
                <a:gd name="T14" fmla="*/ 1743 w 1743"/>
                <a:gd name="T15" fmla="*/ 775 h 947"/>
                <a:gd name="T16" fmla="*/ 1743 w 1743"/>
                <a:gd name="T17" fmla="*/ 172 h 947"/>
                <a:gd name="T18" fmla="*/ 1743 w 1743"/>
                <a:gd name="T19" fmla="*/ 172 h 947"/>
                <a:gd name="T20" fmla="*/ 97 w 1743"/>
                <a:gd name="T21" fmla="*/ 603 h 947"/>
                <a:gd name="T22" fmla="*/ 80 w 1743"/>
                <a:gd name="T23" fmla="*/ 592 h 947"/>
                <a:gd name="T24" fmla="*/ 80 w 1743"/>
                <a:gd name="T25" fmla="*/ 356 h 947"/>
                <a:gd name="T26" fmla="*/ 97 w 1743"/>
                <a:gd name="T27" fmla="*/ 344 h 947"/>
                <a:gd name="T28" fmla="*/ 102 w 1743"/>
                <a:gd name="T29" fmla="*/ 344 h 947"/>
                <a:gd name="T30" fmla="*/ 119 w 1743"/>
                <a:gd name="T31" fmla="*/ 356 h 947"/>
                <a:gd name="T32" fmla="*/ 119 w 1743"/>
                <a:gd name="T33" fmla="*/ 592 h 947"/>
                <a:gd name="T34" fmla="*/ 102 w 1743"/>
                <a:gd name="T35" fmla="*/ 603 h 947"/>
                <a:gd name="T36" fmla="*/ 97 w 1743"/>
                <a:gd name="T37" fmla="*/ 603 h 947"/>
                <a:gd name="T38" fmla="*/ 97 w 1743"/>
                <a:gd name="T39" fmla="*/ 603 h 947"/>
                <a:gd name="T40" fmla="*/ 198 w 1743"/>
                <a:gd name="T41" fmla="*/ 861 h 947"/>
                <a:gd name="T42" fmla="*/ 198 w 1743"/>
                <a:gd name="T43" fmla="*/ 86 h 947"/>
                <a:gd name="T44" fmla="*/ 1463 w 1743"/>
                <a:gd name="T45" fmla="*/ 86 h 947"/>
                <a:gd name="T46" fmla="*/ 1463 w 1743"/>
                <a:gd name="T47" fmla="*/ 861 h 947"/>
                <a:gd name="T48" fmla="*/ 198 w 1743"/>
                <a:gd name="T49" fmla="*/ 861 h 947"/>
                <a:gd name="T50" fmla="*/ 198 w 1743"/>
                <a:gd name="T51" fmla="*/ 861 h 947"/>
                <a:gd name="T52" fmla="*/ 198 w 1743"/>
                <a:gd name="T53" fmla="*/ 861 h 947"/>
                <a:gd name="T54" fmla="*/ 198 w 1743"/>
                <a:gd name="T55" fmla="*/ 861 h 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43" h="947">
                  <a:moveTo>
                    <a:pt x="1743" y="172"/>
                  </a:moveTo>
                  <a:cubicBezTo>
                    <a:pt x="1743" y="172"/>
                    <a:pt x="1743" y="0"/>
                    <a:pt x="1585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0" y="0"/>
                    <a:pt x="0" y="172"/>
                    <a:pt x="0" y="172"/>
                  </a:cubicBezTo>
                  <a:cubicBezTo>
                    <a:pt x="0" y="775"/>
                    <a:pt x="0" y="775"/>
                    <a:pt x="0" y="775"/>
                  </a:cubicBezTo>
                  <a:cubicBezTo>
                    <a:pt x="0" y="775"/>
                    <a:pt x="0" y="947"/>
                    <a:pt x="159" y="947"/>
                  </a:cubicBezTo>
                  <a:cubicBezTo>
                    <a:pt x="1585" y="947"/>
                    <a:pt x="1585" y="947"/>
                    <a:pt x="1585" y="947"/>
                  </a:cubicBezTo>
                  <a:cubicBezTo>
                    <a:pt x="1743" y="947"/>
                    <a:pt x="1743" y="775"/>
                    <a:pt x="1743" y="775"/>
                  </a:cubicBezTo>
                  <a:cubicBezTo>
                    <a:pt x="1743" y="172"/>
                    <a:pt x="1743" y="172"/>
                    <a:pt x="1743" y="172"/>
                  </a:cubicBezTo>
                  <a:cubicBezTo>
                    <a:pt x="1743" y="172"/>
                    <a:pt x="1743" y="172"/>
                    <a:pt x="1743" y="172"/>
                  </a:cubicBezTo>
                  <a:close/>
                  <a:moveTo>
                    <a:pt x="97" y="603"/>
                  </a:moveTo>
                  <a:cubicBezTo>
                    <a:pt x="87" y="603"/>
                    <a:pt x="80" y="598"/>
                    <a:pt x="80" y="592"/>
                  </a:cubicBezTo>
                  <a:cubicBezTo>
                    <a:pt x="80" y="356"/>
                    <a:pt x="80" y="356"/>
                    <a:pt x="80" y="356"/>
                  </a:cubicBezTo>
                  <a:cubicBezTo>
                    <a:pt x="80" y="350"/>
                    <a:pt x="87" y="344"/>
                    <a:pt x="97" y="344"/>
                  </a:cubicBezTo>
                  <a:cubicBezTo>
                    <a:pt x="102" y="344"/>
                    <a:pt x="102" y="344"/>
                    <a:pt x="102" y="344"/>
                  </a:cubicBezTo>
                  <a:cubicBezTo>
                    <a:pt x="112" y="344"/>
                    <a:pt x="119" y="350"/>
                    <a:pt x="119" y="356"/>
                  </a:cubicBezTo>
                  <a:cubicBezTo>
                    <a:pt x="119" y="592"/>
                    <a:pt x="119" y="592"/>
                    <a:pt x="119" y="592"/>
                  </a:cubicBezTo>
                  <a:cubicBezTo>
                    <a:pt x="119" y="598"/>
                    <a:pt x="112" y="603"/>
                    <a:pt x="102" y="603"/>
                  </a:cubicBezTo>
                  <a:cubicBezTo>
                    <a:pt x="97" y="603"/>
                    <a:pt x="97" y="603"/>
                    <a:pt x="97" y="603"/>
                  </a:cubicBezTo>
                  <a:cubicBezTo>
                    <a:pt x="97" y="603"/>
                    <a:pt x="97" y="603"/>
                    <a:pt x="97" y="603"/>
                  </a:cubicBezTo>
                  <a:close/>
                  <a:moveTo>
                    <a:pt x="198" y="861"/>
                  </a:moveTo>
                  <a:cubicBezTo>
                    <a:pt x="198" y="86"/>
                    <a:pt x="198" y="86"/>
                    <a:pt x="198" y="86"/>
                  </a:cubicBezTo>
                  <a:cubicBezTo>
                    <a:pt x="1463" y="86"/>
                    <a:pt x="1463" y="86"/>
                    <a:pt x="1463" y="86"/>
                  </a:cubicBezTo>
                  <a:cubicBezTo>
                    <a:pt x="1463" y="861"/>
                    <a:pt x="1463" y="861"/>
                    <a:pt x="1463" y="861"/>
                  </a:cubicBezTo>
                  <a:cubicBezTo>
                    <a:pt x="198" y="861"/>
                    <a:pt x="198" y="861"/>
                    <a:pt x="198" y="861"/>
                  </a:cubicBezTo>
                  <a:cubicBezTo>
                    <a:pt x="198" y="861"/>
                    <a:pt x="198" y="861"/>
                    <a:pt x="198" y="861"/>
                  </a:cubicBezTo>
                  <a:close/>
                  <a:moveTo>
                    <a:pt x="198" y="861"/>
                  </a:moveTo>
                  <a:cubicBezTo>
                    <a:pt x="198" y="861"/>
                    <a:pt x="198" y="861"/>
                    <a:pt x="198" y="861"/>
                  </a:cubicBezTo>
                </a:path>
              </a:pathLst>
            </a:custGeom>
            <a:solidFill>
              <a:srgbClr val="0101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" b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2EA257B2-8F14-4433-B094-B436A8D48B83}"/>
                </a:ext>
              </a:extLst>
            </p:cNvPr>
            <p:cNvGrpSpPr/>
            <p:nvPr/>
          </p:nvGrpSpPr>
          <p:grpSpPr>
            <a:xfrm>
              <a:off x="7604849" y="1951631"/>
              <a:ext cx="659043" cy="449638"/>
              <a:chOff x="18541995" y="-3003551"/>
              <a:chExt cx="2782893" cy="1898649"/>
            </a:xfrm>
          </p:grpSpPr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AF22B7CF-ED7D-43EF-BF73-29A0685B4CE5}"/>
                  </a:ext>
                </a:extLst>
              </p:cNvPr>
              <p:cNvGrpSpPr/>
              <p:nvPr/>
            </p:nvGrpSpPr>
            <p:grpSpPr>
              <a:xfrm>
                <a:off x="18541995" y="-3003551"/>
                <a:ext cx="850898" cy="1898649"/>
                <a:chOff x="18541995" y="-3003551"/>
                <a:chExt cx="850898" cy="1898649"/>
              </a:xfrm>
            </p:grpSpPr>
            <p:sp>
              <p:nvSpPr>
                <p:cNvPr id="172" name="Oval 208">
                  <a:extLst>
                    <a:ext uri="{FF2B5EF4-FFF2-40B4-BE49-F238E27FC236}">
                      <a16:creationId xmlns:a16="http://schemas.microsoft.com/office/drawing/2014/main" id="{A7E5CF15-C745-4FF8-A698-00D593D1546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8783300" y="-3003551"/>
                  <a:ext cx="368300" cy="401638"/>
                </a:xfrm>
                <a:prstGeom prst="ellipse">
                  <a:avLst/>
                </a:prstGeom>
                <a:solidFill>
                  <a:srgbClr val="10323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" b="1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73" name="Freeform 209">
                  <a:extLst>
                    <a:ext uri="{FF2B5EF4-FFF2-40B4-BE49-F238E27FC236}">
                      <a16:creationId xmlns:a16="http://schemas.microsoft.com/office/drawing/2014/main" id="{A6D74CC7-4B5C-4C0F-A5AB-9E0B53431B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41995" y="-2587627"/>
                  <a:ext cx="850898" cy="1482725"/>
                </a:xfrm>
                <a:custGeom>
                  <a:avLst/>
                  <a:gdLst>
                    <a:gd name="T0" fmla="*/ 381 w 817"/>
                    <a:gd name="T1" fmla="*/ 0 h 1429"/>
                    <a:gd name="T2" fmla="*/ 106 w 817"/>
                    <a:gd name="T3" fmla="*/ 59 h 1429"/>
                    <a:gd name="T4" fmla="*/ 95 w 817"/>
                    <a:gd name="T5" fmla="*/ 66 h 1429"/>
                    <a:gd name="T6" fmla="*/ 85 w 817"/>
                    <a:gd name="T7" fmla="*/ 72 h 1429"/>
                    <a:gd name="T8" fmla="*/ 75 w 817"/>
                    <a:gd name="T9" fmla="*/ 84 h 1429"/>
                    <a:gd name="T10" fmla="*/ 68 w 817"/>
                    <a:gd name="T11" fmla="*/ 93 h 1429"/>
                    <a:gd name="T12" fmla="*/ 63 w 817"/>
                    <a:gd name="T13" fmla="*/ 108 h 1429"/>
                    <a:gd name="T14" fmla="*/ 60 w 817"/>
                    <a:gd name="T15" fmla="*/ 117 h 1429"/>
                    <a:gd name="T16" fmla="*/ 5 w 817"/>
                    <a:gd name="T17" fmla="*/ 619 h 1429"/>
                    <a:gd name="T18" fmla="*/ 66 w 817"/>
                    <a:gd name="T19" fmla="*/ 696 h 1429"/>
                    <a:gd name="T20" fmla="*/ 74 w 817"/>
                    <a:gd name="T21" fmla="*/ 697 h 1429"/>
                    <a:gd name="T22" fmla="*/ 143 w 817"/>
                    <a:gd name="T23" fmla="*/ 635 h 1429"/>
                    <a:gd name="T24" fmla="*/ 194 w 817"/>
                    <a:gd name="T25" fmla="*/ 177 h 1429"/>
                    <a:gd name="T26" fmla="*/ 213 w 817"/>
                    <a:gd name="T27" fmla="*/ 171 h 1429"/>
                    <a:gd name="T28" fmla="*/ 213 w 817"/>
                    <a:gd name="T29" fmla="*/ 648 h 1429"/>
                    <a:gd name="T30" fmla="*/ 158 w 817"/>
                    <a:gd name="T31" fmla="*/ 1338 h 1429"/>
                    <a:gd name="T32" fmla="*/ 235 w 817"/>
                    <a:gd name="T33" fmla="*/ 1429 h 1429"/>
                    <a:gd name="T34" fmla="*/ 241 w 817"/>
                    <a:gd name="T35" fmla="*/ 1429 h 1429"/>
                    <a:gd name="T36" fmla="*/ 325 w 817"/>
                    <a:gd name="T37" fmla="*/ 1352 h 1429"/>
                    <a:gd name="T38" fmla="*/ 375 w 817"/>
                    <a:gd name="T39" fmla="*/ 728 h 1429"/>
                    <a:gd name="T40" fmla="*/ 409 w 817"/>
                    <a:gd name="T41" fmla="*/ 735 h 1429"/>
                    <a:gd name="T42" fmla="*/ 442 w 817"/>
                    <a:gd name="T43" fmla="*/ 728 h 1429"/>
                    <a:gd name="T44" fmla="*/ 493 w 817"/>
                    <a:gd name="T45" fmla="*/ 1352 h 1429"/>
                    <a:gd name="T46" fmla="*/ 576 w 817"/>
                    <a:gd name="T47" fmla="*/ 1429 h 1429"/>
                    <a:gd name="T48" fmla="*/ 583 w 817"/>
                    <a:gd name="T49" fmla="*/ 1429 h 1429"/>
                    <a:gd name="T50" fmla="*/ 660 w 817"/>
                    <a:gd name="T51" fmla="*/ 1338 h 1429"/>
                    <a:gd name="T52" fmla="*/ 604 w 817"/>
                    <a:gd name="T53" fmla="*/ 648 h 1429"/>
                    <a:gd name="T54" fmla="*/ 604 w 817"/>
                    <a:gd name="T55" fmla="*/ 171 h 1429"/>
                    <a:gd name="T56" fmla="*/ 623 w 817"/>
                    <a:gd name="T57" fmla="*/ 177 h 1429"/>
                    <a:gd name="T58" fmla="*/ 674 w 817"/>
                    <a:gd name="T59" fmla="*/ 635 h 1429"/>
                    <a:gd name="T60" fmla="*/ 744 w 817"/>
                    <a:gd name="T61" fmla="*/ 697 h 1429"/>
                    <a:gd name="T62" fmla="*/ 751 w 817"/>
                    <a:gd name="T63" fmla="*/ 696 h 1429"/>
                    <a:gd name="T64" fmla="*/ 813 w 817"/>
                    <a:gd name="T65" fmla="*/ 619 h 1429"/>
                    <a:gd name="T66" fmla="*/ 757 w 817"/>
                    <a:gd name="T67" fmla="*/ 117 h 1429"/>
                    <a:gd name="T68" fmla="*/ 754 w 817"/>
                    <a:gd name="T69" fmla="*/ 108 h 1429"/>
                    <a:gd name="T70" fmla="*/ 754 w 817"/>
                    <a:gd name="T71" fmla="*/ 108 h 1429"/>
                    <a:gd name="T72" fmla="*/ 750 w 817"/>
                    <a:gd name="T73" fmla="*/ 93 h 1429"/>
                    <a:gd name="T74" fmla="*/ 743 w 817"/>
                    <a:gd name="T75" fmla="*/ 83 h 1429"/>
                    <a:gd name="T76" fmla="*/ 733 w 817"/>
                    <a:gd name="T77" fmla="*/ 72 h 1429"/>
                    <a:gd name="T78" fmla="*/ 722 w 817"/>
                    <a:gd name="T79" fmla="*/ 66 h 1429"/>
                    <a:gd name="T80" fmla="*/ 712 w 817"/>
                    <a:gd name="T81" fmla="*/ 59 h 1429"/>
                    <a:gd name="T82" fmla="*/ 436 w 817"/>
                    <a:gd name="T83" fmla="*/ 0 h 1429"/>
                    <a:gd name="T84" fmla="*/ 381 w 817"/>
                    <a:gd name="T85" fmla="*/ 0 h 14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817" h="1429">
                      <a:moveTo>
                        <a:pt x="381" y="0"/>
                      </a:moveTo>
                      <a:cubicBezTo>
                        <a:pt x="253" y="7"/>
                        <a:pt x="112" y="57"/>
                        <a:pt x="106" y="59"/>
                      </a:cubicBezTo>
                      <a:cubicBezTo>
                        <a:pt x="102" y="61"/>
                        <a:pt x="99" y="63"/>
                        <a:pt x="95" y="66"/>
                      </a:cubicBezTo>
                      <a:cubicBezTo>
                        <a:pt x="92" y="68"/>
                        <a:pt x="88" y="69"/>
                        <a:pt x="85" y="72"/>
                      </a:cubicBezTo>
                      <a:cubicBezTo>
                        <a:pt x="81" y="75"/>
                        <a:pt x="78" y="80"/>
                        <a:pt x="75" y="84"/>
                      </a:cubicBezTo>
                      <a:cubicBezTo>
                        <a:pt x="72" y="87"/>
                        <a:pt x="70" y="89"/>
                        <a:pt x="68" y="93"/>
                      </a:cubicBezTo>
                      <a:cubicBezTo>
                        <a:pt x="66" y="98"/>
                        <a:pt x="64" y="103"/>
                        <a:pt x="63" y="108"/>
                      </a:cubicBezTo>
                      <a:cubicBezTo>
                        <a:pt x="62" y="111"/>
                        <a:pt x="61" y="114"/>
                        <a:pt x="60" y="117"/>
                      </a:cubicBezTo>
                      <a:cubicBezTo>
                        <a:pt x="5" y="619"/>
                        <a:pt x="5" y="619"/>
                        <a:pt x="5" y="619"/>
                      </a:cubicBezTo>
                      <a:cubicBezTo>
                        <a:pt x="0" y="658"/>
                        <a:pt x="28" y="692"/>
                        <a:pt x="66" y="696"/>
                      </a:cubicBezTo>
                      <a:cubicBezTo>
                        <a:pt x="69" y="697"/>
                        <a:pt x="71" y="697"/>
                        <a:pt x="74" y="697"/>
                      </a:cubicBezTo>
                      <a:cubicBezTo>
                        <a:pt x="109" y="697"/>
                        <a:pt x="139" y="671"/>
                        <a:pt x="143" y="635"/>
                      </a:cubicBezTo>
                      <a:cubicBezTo>
                        <a:pt x="194" y="177"/>
                        <a:pt x="194" y="177"/>
                        <a:pt x="194" y="177"/>
                      </a:cubicBezTo>
                      <a:cubicBezTo>
                        <a:pt x="200" y="175"/>
                        <a:pt x="206" y="173"/>
                        <a:pt x="213" y="171"/>
                      </a:cubicBezTo>
                      <a:cubicBezTo>
                        <a:pt x="213" y="648"/>
                        <a:pt x="213" y="648"/>
                        <a:pt x="213" y="648"/>
                      </a:cubicBezTo>
                      <a:cubicBezTo>
                        <a:pt x="158" y="1338"/>
                        <a:pt x="158" y="1338"/>
                        <a:pt x="158" y="1338"/>
                      </a:cubicBezTo>
                      <a:cubicBezTo>
                        <a:pt x="154" y="1384"/>
                        <a:pt x="189" y="1425"/>
                        <a:pt x="235" y="1429"/>
                      </a:cubicBezTo>
                      <a:cubicBezTo>
                        <a:pt x="237" y="1429"/>
                        <a:pt x="239" y="1429"/>
                        <a:pt x="241" y="1429"/>
                      </a:cubicBezTo>
                      <a:cubicBezTo>
                        <a:pt x="285" y="1429"/>
                        <a:pt x="321" y="1396"/>
                        <a:pt x="325" y="1352"/>
                      </a:cubicBezTo>
                      <a:cubicBezTo>
                        <a:pt x="375" y="728"/>
                        <a:pt x="375" y="728"/>
                        <a:pt x="375" y="728"/>
                      </a:cubicBezTo>
                      <a:cubicBezTo>
                        <a:pt x="385" y="732"/>
                        <a:pt x="397" y="735"/>
                        <a:pt x="409" y="735"/>
                      </a:cubicBezTo>
                      <a:cubicBezTo>
                        <a:pt x="421" y="735"/>
                        <a:pt x="432" y="732"/>
                        <a:pt x="442" y="728"/>
                      </a:cubicBezTo>
                      <a:cubicBezTo>
                        <a:pt x="493" y="1352"/>
                        <a:pt x="493" y="1352"/>
                        <a:pt x="493" y="1352"/>
                      </a:cubicBezTo>
                      <a:cubicBezTo>
                        <a:pt x="496" y="1396"/>
                        <a:pt x="533" y="1429"/>
                        <a:pt x="576" y="1429"/>
                      </a:cubicBezTo>
                      <a:cubicBezTo>
                        <a:pt x="578" y="1429"/>
                        <a:pt x="581" y="1429"/>
                        <a:pt x="583" y="1429"/>
                      </a:cubicBezTo>
                      <a:cubicBezTo>
                        <a:pt x="629" y="1425"/>
                        <a:pt x="663" y="1384"/>
                        <a:pt x="660" y="1338"/>
                      </a:cubicBezTo>
                      <a:cubicBezTo>
                        <a:pt x="604" y="648"/>
                        <a:pt x="604" y="648"/>
                        <a:pt x="604" y="648"/>
                      </a:cubicBezTo>
                      <a:cubicBezTo>
                        <a:pt x="604" y="171"/>
                        <a:pt x="604" y="171"/>
                        <a:pt x="604" y="171"/>
                      </a:cubicBezTo>
                      <a:cubicBezTo>
                        <a:pt x="611" y="173"/>
                        <a:pt x="617" y="175"/>
                        <a:pt x="623" y="177"/>
                      </a:cubicBezTo>
                      <a:cubicBezTo>
                        <a:pt x="674" y="635"/>
                        <a:pt x="674" y="635"/>
                        <a:pt x="674" y="635"/>
                      </a:cubicBezTo>
                      <a:cubicBezTo>
                        <a:pt x="678" y="671"/>
                        <a:pt x="708" y="697"/>
                        <a:pt x="744" y="697"/>
                      </a:cubicBezTo>
                      <a:cubicBezTo>
                        <a:pt x="746" y="697"/>
                        <a:pt x="749" y="697"/>
                        <a:pt x="751" y="696"/>
                      </a:cubicBezTo>
                      <a:cubicBezTo>
                        <a:pt x="790" y="692"/>
                        <a:pt x="817" y="658"/>
                        <a:pt x="813" y="619"/>
                      </a:cubicBezTo>
                      <a:cubicBezTo>
                        <a:pt x="757" y="117"/>
                        <a:pt x="757" y="117"/>
                        <a:pt x="757" y="117"/>
                      </a:cubicBezTo>
                      <a:cubicBezTo>
                        <a:pt x="757" y="114"/>
                        <a:pt x="755" y="111"/>
                        <a:pt x="754" y="108"/>
                      </a:cubicBezTo>
                      <a:cubicBezTo>
                        <a:pt x="754" y="108"/>
                        <a:pt x="754" y="108"/>
                        <a:pt x="754" y="108"/>
                      </a:cubicBezTo>
                      <a:cubicBezTo>
                        <a:pt x="753" y="102"/>
                        <a:pt x="752" y="98"/>
                        <a:pt x="750" y="93"/>
                      </a:cubicBezTo>
                      <a:cubicBezTo>
                        <a:pt x="748" y="89"/>
                        <a:pt x="745" y="87"/>
                        <a:pt x="743" y="83"/>
                      </a:cubicBezTo>
                      <a:cubicBezTo>
                        <a:pt x="739" y="79"/>
                        <a:pt x="737" y="75"/>
                        <a:pt x="733" y="72"/>
                      </a:cubicBezTo>
                      <a:cubicBezTo>
                        <a:pt x="729" y="69"/>
                        <a:pt x="726" y="68"/>
                        <a:pt x="722" y="66"/>
                      </a:cubicBezTo>
                      <a:cubicBezTo>
                        <a:pt x="719" y="63"/>
                        <a:pt x="716" y="61"/>
                        <a:pt x="712" y="59"/>
                      </a:cubicBezTo>
                      <a:cubicBezTo>
                        <a:pt x="705" y="57"/>
                        <a:pt x="565" y="7"/>
                        <a:pt x="436" y="0"/>
                      </a:cubicBezTo>
                      <a:lnTo>
                        <a:pt x="381" y="0"/>
                      </a:lnTo>
                      <a:close/>
                    </a:path>
                  </a:pathLst>
                </a:custGeom>
                <a:solidFill>
                  <a:srgbClr val="10323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" b="1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166" name="Group 165">
                <a:extLst>
                  <a:ext uri="{FF2B5EF4-FFF2-40B4-BE49-F238E27FC236}">
                    <a16:creationId xmlns:a16="http://schemas.microsoft.com/office/drawing/2014/main" id="{2A8B4415-B9C4-41B5-B528-BB97D06B6534}"/>
                  </a:ext>
                </a:extLst>
              </p:cNvPr>
              <p:cNvGrpSpPr/>
              <p:nvPr/>
            </p:nvGrpSpPr>
            <p:grpSpPr>
              <a:xfrm>
                <a:off x="19507201" y="-3003551"/>
                <a:ext cx="852488" cy="1898649"/>
                <a:chOff x="19507201" y="-3003551"/>
                <a:chExt cx="852488" cy="1898649"/>
              </a:xfrm>
            </p:grpSpPr>
            <p:sp>
              <p:nvSpPr>
                <p:cNvPr id="170" name="Oval 213">
                  <a:extLst>
                    <a:ext uri="{FF2B5EF4-FFF2-40B4-BE49-F238E27FC236}">
                      <a16:creationId xmlns:a16="http://schemas.microsoft.com/office/drawing/2014/main" id="{90B6C743-7455-4DCC-9B98-DA515E311EE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9750088" y="-3003551"/>
                  <a:ext cx="368300" cy="401638"/>
                </a:xfrm>
                <a:prstGeom prst="ellipse">
                  <a:avLst/>
                </a:prstGeom>
                <a:solidFill>
                  <a:srgbClr val="10323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" b="1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71" name="Freeform 214">
                  <a:extLst>
                    <a:ext uri="{FF2B5EF4-FFF2-40B4-BE49-F238E27FC236}">
                      <a16:creationId xmlns:a16="http://schemas.microsoft.com/office/drawing/2014/main" id="{979E6BB0-FF35-403D-95F6-5697034A4C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07201" y="-2587627"/>
                  <a:ext cx="852488" cy="1482725"/>
                </a:xfrm>
                <a:custGeom>
                  <a:avLst/>
                  <a:gdLst>
                    <a:gd name="T0" fmla="*/ 381 w 817"/>
                    <a:gd name="T1" fmla="*/ 0 h 1429"/>
                    <a:gd name="T2" fmla="*/ 106 w 817"/>
                    <a:gd name="T3" fmla="*/ 59 h 1429"/>
                    <a:gd name="T4" fmla="*/ 95 w 817"/>
                    <a:gd name="T5" fmla="*/ 66 h 1429"/>
                    <a:gd name="T6" fmla="*/ 85 w 817"/>
                    <a:gd name="T7" fmla="*/ 72 h 1429"/>
                    <a:gd name="T8" fmla="*/ 75 w 817"/>
                    <a:gd name="T9" fmla="*/ 84 h 1429"/>
                    <a:gd name="T10" fmla="*/ 68 w 817"/>
                    <a:gd name="T11" fmla="*/ 93 h 1429"/>
                    <a:gd name="T12" fmla="*/ 63 w 817"/>
                    <a:gd name="T13" fmla="*/ 108 h 1429"/>
                    <a:gd name="T14" fmla="*/ 60 w 817"/>
                    <a:gd name="T15" fmla="*/ 117 h 1429"/>
                    <a:gd name="T16" fmla="*/ 5 w 817"/>
                    <a:gd name="T17" fmla="*/ 619 h 1429"/>
                    <a:gd name="T18" fmla="*/ 66 w 817"/>
                    <a:gd name="T19" fmla="*/ 696 h 1429"/>
                    <a:gd name="T20" fmla="*/ 74 w 817"/>
                    <a:gd name="T21" fmla="*/ 697 h 1429"/>
                    <a:gd name="T22" fmla="*/ 143 w 817"/>
                    <a:gd name="T23" fmla="*/ 635 h 1429"/>
                    <a:gd name="T24" fmla="*/ 194 w 817"/>
                    <a:gd name="T25" fmla="*/ 177 h 1429"/>
                    <a:gd name="T26" fmla="*/ 213 w 817"/>
                    <a:gd name="T27" fmla="*/ 171 h 1429"/>
                    <a:gd name="T28" fmla="*/ 213 w 817"/>
                    <a:gd name="T29" fmla="*/ 648 h 1429"/>
                    <a:gd name="T30" fmla="*/ 158 w 817"/>
                    <a:gd name="T31" fmla="*/ 1338 h 1429"/>
                    <a:gd name="T32" fmla="*/ 235 w 817"/>
                    <a:gd name="T33" fmla="*/ 1429 h 1429"/>
                    <a:gd name="T34" fmla="*/ 241 w 817"/>
                    <a:gd name="T35" fmla="*/ 1429 h 1429"/>
                    <a:gd name="T36" fmla="*/ 325 w 817"/>
                    <a:gd name="T37" fmla="*/ 1352 h 1429"/>
                    <a:gd name="T38" fmla="*/ 375 w 817"/>
                    <a:gd name="T39" fmla="*/ 728 h 1429"/>
                    <a:gd name="T40" fmla="*/ 409 w 817"/>
                    <a:gd name="T41" fmla="*/ 735 h 1429"/>
                    <a:gd name="T42" fmla="*/ 442 w 817"/>
                    <a:gd name="T43" fmla="*/ 728 h 1429"/>
                    <a:gd name="T44" fmla="*/ 493 w 817"/>
                    <a:gd name="T45" fmla="*/ 1352 h 1429"/>
                    <a:gd name="T46" fmla="*/ 576 w 817"/>
                    <a:gd name="T47" fmla="*/ 1429 h 1429"/>
                    <a:gd name="T48" fmla="*/ 583 w 817"/>
                    <a:gd name="T49" fmla="*/ 1429 h 1429"/>
                    <a:gd name="T50" fmla="*/ 660 w 817"/>
                    <a:gd name="T51" fmla="*/ 1338 h 1429"/>
                    <a:gd name="T52" fmla="*/ 604 w 817"/>
                    <a:gd name="T53" fmla="*/ 648 h 1429"/>
                    <a:gd name="T54" fmla="*/ 604 w 817"/>
                    <a:gd name="T55" fmla="*/ 171 h 1429"/>
                    <a:gd name="T56" fmla="*/ 623 w 817"/>
                    <a:gd name="T57" fmla="*/ 177 h 1429"/>
                    <a:gd name="T58" fmla="*/ 674 w 817"/>
                    <a:gd name="T59" fmla="*/ 635 h 1429"/>
                    <a:gd name="T60" fmla="*/ 744 w 817"/>
                    <a:gd name="T61" fmla="*/ 697 h 1429"/>
                    <a:gd name="T62" fmla="*/ 751 w 817"/>
                    <a:gd name="T63" fmla="*/ 696 h 1429"/>
                    <a:gd name="T64" fmla="*/ 813 w 817"/>
                    <a:gd name="T65" fmla="*/ 619 h 1429"/>
                    <a:gd name="T66" fmla="*/ 757 w 817"/>
                    <a:gd name="T67" fmla="*/ 117 h 1429"/>
                    <a:gd name="T68" fmla="*/ 754 w 817"/>
                    <a:gd name="T69" fmla="*/ 108 h 1429"/>
                    <a:gd name="T70" fmla="*/ 754 w 817"/>
                    <a:gd name="T71" fmla="*/ 108 h 1429"/>
                    <a:gd name="T72" fmla="*/ 750 w 817"/>
                    <a:gd name="T73" fmla="*/ 93 h 1429"/>
                    <a:gd name="T74" fmla="*/ 743 w 817"/>
                    <a:gd name="T75" fmla="*/ 83 h 1429"/>
                    <a:gd name="T76" fmla="*/ 733 w 817"/>
                    <a:gd name="T77" fmla="*/ 72 h 1429"/>
                    <a:gd name="T78" fmla="*/ 722 w 817"/>
                    <a:gd name="T79" fmla="*/ 66 h 1429"/>
                    <a:gd name="T80" fmla="*/ 712 w 817"/>
                    <a:gd name="T81" fmla="*/ 59 h 1429"/>
                    <a:gd name="T82" fmla="*/ 436 w 817"/>
                    <a:gd name="T83" fmla="*/ 0 h 1429"/>
                    <a:gd name="T84" fmla="*/ 381 w 817"/>
                    <a:gd name="T85" fmla="*/ 0 h 14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817" h="1429">
                      <a:moveTo>
                        <a:pt x="381" y="0"/>
                      </a:moveTo>
                      <a:cubicBezTo>
                        <a:pt x="253" y="7"/>
                        <a:pt x="112" y="57"/>
                        <a:pt x="106" y="59"/>
                      </a:cubicBezTo>
                      <a:cubicBezTo>
                        <a:pt x="102" y="61"/>
                        <a:pt x="99" y="63"/>
                        <a:pt x="95" y="66"/>
                      </a:cubicBezTo>
                      <a:cubicBezTo>
                        <a:pt x="92" y="68"/>
                        <a:pt x="88" y="69"/>
                        <a:pt x="85" y="72"/>
                      </a:cubicBezTo>
                      <a:cubicBezTo>
                        <a:pt x="81" y="75"/>
                        <a:pt x="78" y="80"/>
                        <a:pt x="75" y="84"/>
                      </a:cubicBezTo>
                      <a:cubicBezTo>
                        <a:pt x="72" y="87"/>
                        <a:pt x="70" y="89"/>
                        <a:pt x="68" y="93"/>
                      </a:cubicBezTo>
                      <a:cubicBezTo>
                        <a:pt x="66" y="98"/>
                        <a:pt x="64" y="103"/>
                        <a:pt x="63" y="108"/>
                      </a:cubicBezTo>
                      <a:cubicBezTo>
                        <a:pt x="62" y="111"/>
                        <a:pt x="61" y="114"/>
                        <a:pt x="60" y="117"/>
                      </a:cubicBezTo>
                      <a:cubicBezTo>
                        <a:pt x="5" y="619"/>
                        <a:pt x="5" y="619"/>
                        <a:pt x="5" y="619"/>
                      </a:cubicBezTo>
                      <a:cubicBezTo>
                        <a:pt x="0" y="658"/>
                        <a:pt x="28" y="692"/>
                        <a:pt x="66" y="696"/>
                      </a:cubicBezTo>
                      <a:cubicBezTo>
                        <a:pt x="69" y="697"/>
                        <a:pt x="71" y="697"/>
                        <a:pt x="74" y="697"/>
                      </a:cubicBezTo>
                      <a:cubicBezTo>
                        <a:pt x="109" y="697"/>
                        <a:pt x="139" y="671"/>
                        <a:pt x="143" y="635"/>
                      </a:cubicBezTo>
                      <a:cubicBezTo>
                        <a:pt x="194" y="177"/>
                        <a:pt x="194" y="177"/>
                        <a:pt x="194" y="177"/>
                      </a:cubicBezTo>
                      <a:cubicBezTo>
                        <a:pt x="200" y="175"/>
                        <a:pt x="206" y="173"/>
                        <a:pt x="213" y="171"/>
                      </a:cubicBezTo>
                      <a:cubicBezTo>
                        <a:pt x="213" y="648"/>
                        <a:pt x="213" y="648"/>
                        <a:pt x="213" y="648"/>
                      </a:cubicBezTo>
                      <a:cubicBezTo>
                        <a:pt x="158" y="1338"/>
                        <a:pt x="158" y="1338"/>
                        <a:pt x="158" y="1338"/>
                      </a:cubicBezTo>
                      <a:cubicBezTo>
                        <a:pt x="154" y="1384"/>
                        <a:pt x="189" y="1425"/>
                        <a:pt x="235" y="1429"/>
                      </a:cubicBezTo>
                      <a:cubicBezTo>
                        <a:pt x="237" y="1429"/>
                        <a:pt x="239" y="1429"/>
                        <a:pt x="241" y="1429"/>
                      </a:cubicBezTo>
                      <a:cubicBezTo>
                        <a:pt x="285" y="1429"/>
                        <a:pt x="321" y="1396"/>
                        <a:pt x="325" y="1352"/>
                      </a:cubicBezTo>
                      <a:cubicBezTo>
                        <a:pt x="375" y="728"/>
                        <a:pt x="375" y="728"/>
                        <a:pt x="375" y="728"/>
                      </a:cubicBezTo>
                      <a:cubicBezTo>
                        <a:pt x="385" y="732"/>
                        <a:pt x="397" y="735"/>
                        <a:pt x="409" y="735"/>
                      </a:cubicBezTo>
                      <a:cubicBezTo>
                        <a:pt x="421" y="735"/>
                        <a:pt x="432" y="732"/>
                        <a:pt x="442" y="728"/>
                      </a:cubicBezTo>
                      <a:cubicBezTo>
                        <a:pt x="493" y="1352"/>
                        <a:pt x="493" y="1352"/>
                        <a:pt x="493" y="1352"/>
                      </a:cubicBezTo>
                      <a:cubicBezTo>
                        <a:pt x="496" y="1396"/>
                        <a:pt x="533" y="1429"/>
                        <a:pt x="576" y="1429"/>
                      </a:cubicBezTo>
                      <a:cubicBezTo>
                        <a:pt x="578" y="1429"/>
                        <a:pt x="581" y="1429"/>
                        <a:pt x="583" y="1429"/>
                      </a:cubicBezTo>
                      <a:cubicBezTo>
                        <a:pt x="629" y="1425"/>
                        <a:pt x="663" y="1384"/>
                        <a:pt x="660" y="1338"/>
                      </a:cubicBezTo>
                      <a:cubicBezTo>
                        <a:pt x="604" y="648"/>
                        <a:pt x="604" y="648"/>
                        <a:pt x="604" y="648"/>
                      </a:cubicBezTo>
                      <a:cubicBezTo>
                        <a:pt x="604" y="171"/>
                        <a:pt x="604" y="171"/>
                        <a:pt x="604" y="171"/>
                      </a:cubicBezTo>
                      <a:cubicBezTo>
                        <a:pt x="611" y="173"/>
                        <a:pt x="617" y="175"/>
                        <a:pt x="623" y="177"/>
                      </a:cubicBezTo>
                      <a:cubicBezTo>
                        <a:pt x="674" y="635"/>
                        <a:pt x="674" y="635"/>
                        <a:pt x="674" y="635"/>
                      </a:cubicBezTo>
                      <a:cubicBezTo>
                        <a:pt x="678" y="671"/>
                        <a:pt x="708" y="697"/>
                        <a:pt x="744" y="697"/>
                      </a:cubicBezTo>
                      <a:cubicBezTo>
                        <a:pt x="746" y="697"/>
                        <a:pt x="749" y="697"/>
                        <a:pt x="751" y="696"/>
                      </a:cubicBezTo>
                      <a:cubicBezTo>
                        <a:pt x="790" y="692"/>
                        <a:pt x="817" y="658"/>
                        <a:pt x="813" y="619"/>
                      </a:cubicBezTo>
                      <a:cubicBezTo>
                        <a:pt x="757" y="117"/>
                        <a:pt x="757" y="117"/>
                        <a:pt x="757" y="117"/>
                      </a:cubicBezTo>
                      <a:cubicBezTo>
                        <a:pt x="757" y="114"/>
                        <a:pt x="755" y="111"/>
                        <a:pt x="754" y="108"/>
                      </a:cubicBezTo>
                      <a:cubicBezTo>
                        <a:pt x="754" y="108"/>
                        <a:pt x="754" y="108"/>
                        <a:pt x="754" y="108"/>
                      </a:cubicBezTo>
                      <a:cubicBezTo>
                        <a:pt x="753" y="102"/>
                        <a:pt x="752" y="98"/>
                        <a:pt x="750" y="93"/>
                      </a:cubicBezTo>
                      <a:cubicBezTo>
                        <a:pt x="748" y="89"/>
                        <a:pt x="745" y="87"/>
                        <a:pt x="743" y="83"/>
                      </a:cubicBezTo>
                      <a:cubicBezTo>
                        <a:pt x="739" y="79"/>
                        <a:pt x="737" y="75"/>
                        <a:pt x="733" y="72"/>
                      </a:cubicBezTo>
                      <a:cubicBezTo>
                        <a:pt x="729" y="69"/>
                        <a:pt x="726" y="68"/>
                        <a:pt x="722" y="66"/>
                      </a:cubicBezTo>
                      <a:cubicBezTo>
                        <a:pt x="719" y="63"/>
                        <a:pt x="716" y="61"/>
                        <a:pt x="712" y="59"/>
                      </a:cubicBezTo>
                      <a:cubicBezTo>
                        <a:pt x="705" y="57"/>
                        <a:pt x="565" y="7"/>
                        <a:pt x="436" y="0"/>
                      </a:cubicBezTo>
                      <a:lnTo>
                        <a:pt x="381" y="0"/>
                      </a:lnTo>
                      <a:close/>
                    </a:path>
                  </a:pathLst>
                </a:custGeom>
                <a:solidFill>
                  <a:srgbClr val="10323B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" b="1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grpSp>
            <p:nvGrpSpPr>
              <p:cNvPr id="167" name="Group 166">
                <a:extLst>
                  <a:ext uri="{FF2B5EF4-FFF2-40B4-BE49-F238E27FC236}">
                    <a16:creationId xmlns:a16="http://schemas.microsoft.com/office/drawing/2014/main" id="{26E56A12-AFAA-4516-9FD0-9BD36ECC8CD9}"/>
                  </a:ext>
                </a:extLst>
              </p:cNvPr>
              <p:cNvGrpSpPr/>
              <p:nvPr/>
            </p:nvGrpSpPr>
            <p:grpSpPr>
              <a:xfrm>
                <a:off x="20473987" y="-3003551"/>
                <a:ext cx="850901" cy="1898649"/>
                <a:chOff x="20473987" y="-3003551"/>
                <a:chExt cx="850901" cy="1898649"/>
              </a:xfrm>
            </p:grpSpPr>
            <p:sp>
              <p:nvSpPr>
                <p:cNvPr id="168" name="Oval 218">
                  <a:extLst>
                    <a:ext uri="{FF2B5EF4-FFF2-40B4-BE49-F238E27FC236}">
                      <a16:creationId xmlns:a16="http://schemas.microsoft.com/office/drawing/2014/main" id="{86286A91-048D-4F7A-AF67-3172F79C90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0715288" y="-3003551"/>
                  <a:ext cx="368300" cy="401638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" b="1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169" name="Freeform 219">
                  <a:extLst>
                    <a:ext uri="{FF2B5EF4-FFF2-40B4-BE49-F238E27FC236}">
                      <a16:creationId xmlns:a16="http://schemas.microsoft.com/office/drawing/2014/main" id="{CCE5FDE3-80D0-458C-B258-16A9309768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73987" y="-2587627"/>
                  <a:ext cx="850901" cy="1482725"/>
                </a:xfrm>
                <a:custGeom>
                  <a:avLst/>
                  <a:gdLst>
                    <a:gd name="T0" fmla="*/ 381 w 817"/>
                    <a:gd name="T1" fmla="*/ 0 h 1429"/>
                    <a:gd name="T2" fmla="*/ 106 w 817"/>
                    <a:gd name="T3" fmla="*/ 59 h 1429"/>
                    <a:gd name="T4" fmla="*/ 95 w 817"/>
                    <a:gd name="T5" fmla="*/ 66 h 1429"/>
                    <a:gd name="T6" fmla="*/ 85 w 817"/>
                    <a:gd name="T7" fmla="*/ 72 h 1429"/>
                    <a:gd name="T8" fmla="*/ 75 w 817"/>
                    <a:gd name="T9" fmla="*/ 84 h 1429"/>
                    <a:gd name="T10" fmla="*/ 68 w 817"/>
                    <a:gd name="T11" fmla="*/ 93 h 1429"/>
                    <a:gd name="T12" fmla="*/ 63 w 817"/>
                    <a:gd name="T13" fmla="*/ 108 h 1429"/>
                    <a:gd name="T14" fmla="*/ 60 w 817"/>
                    <a:gd name="T15" fmla="*/ 117 h 1429"/>
                    <a:gd name="T16" fmla="*/ 5 w 817"/>
                    <a:gd name="T17" fmla="*/ 619 h 1429"/>
                    <a:gd name="T18" fmla="*/ 66 w 817"/>
                    <a:gd name="T19" fmla="*/ 696 h 1429"/>
                    <a:gd name="T20" fmla="*/ 74 w 817"/>
                    <a:gd name="T21" fmla="*/ 697 h 1429"/>
                    <a:gd name="T22" fmla="*/ 143 w 817"/>
                    <a:gd name="T23" fmla="*/ 635 h 1429"/>
                    <a:gd name="T24" fmla="*/ 194 w 817"/>
                    <a:gd name="T25" fmla="*/ 177 h 1429"/>
                    <a:gd name="T26" fmla="*/ 213 w 817"/>
                    <a:gd name="T27" fmla="*/ 171 h 1429"/>
                    <a:gd name="T28" fmla="*/ 213 w 817"/>
                    <a:gd name="T29" fmla="*/ 648 h 1429"/>
                    <a:gd name="T30" fmla="*/ 158 w 817"/>
                    <a:gd name="T31" fmla="*/ 1338 h 1429"/>
                    <a:gd name="T32" fmla="*/ 235 w 817"/>
                    <a:gd name="T33" fmla="*/ 1429 h 1429"/>
                    <a:gd name="T34" fmla="*/ 241 w 817"/>
                    <a:gd name="T35" fmla="*/ 1429 h 1429"/>
                    <a:gd name="T36" fmla="*/ 325 w 817"/>
                    <a:gd name="T37" fmla="*/ 1352 h 1429"/>
                    <a:gd name="T38" fmla="*/ 375 w 817"/>
                    <a:gd name="T39" fmla="*/ 728 h 1429"/>
                    <a:gd name="T40" fmla="*/ 409 w 817"/>
                    <a:gd name="T41" fmla="*/ 735 h 1429"/>
                    <a:gd name="T42" fmla="*/ 442 w 817"/>
                    <a:gd name="T43" fmla="*/ 728 h 1429"/>
                    <a:gd name="T44" fmla="*/ 493 w 817"/>
                    <a:gd name="T45" fmla="*/ 1352 h 1429"/>
                    <a:gd name="T46" fmla="*/ 576 w 817"/>
                    <a:gd name="T47" fmla="*/ 1429 h 1429"/>
                    <a:gd name="T48" fmla="*/ 583 w 817"/>
                    <a:gd name="T49" fmla="*/ 1429 h 1429"/>
                    <a:gd name="T50" fmla="*/ 660 w 817"/>
                    <a:gd name="T51" fmla="*/ 1338 h 1429"/>
                    <a:gd name="T52" fmla="*/ 604 w 817"/>
                    <a:gd name="T53" fmla="*/ 648 h 1429"/>
                    <a:gd name="T54" fmla="*/ 604 w 817"/>
                    <a:gd name="T55" fmla="*/ 171 h 1429"/>
                    <a:gd name="T56" fmla="*/ 623 w 817"/>
                    <a:gd name="T57" fmla="*/ 177 h 1429"/>
                    <a:gd name="T58" fmla="*/ 674 w 817"/>
                    <a:gd name="T59" fmla="*/ 635 h 1429"/>
                    <a:gd name="T60" fmla="*/ 744 w 817"/>
                    <a:gd name="T61" fmla="*/ 697 h 1429"/>
                    <a:gd name="T62" fmla="*/ 751 w 817"/>
                    <a:gd name="T63" fmla="*/ 696 h 1429"/>
                    <a:gd name="T64" fmla="*/ 813 w 817"/>
                    <a:gd name="T65" fmla="*/ 619 h 1429"/>
                    <a:gd name="T66" fmla="*/ 757 w 817"/>
                    <a:gd name="T67" fmla="*/ 117 h 1429"/>
                    <a:gd name="T68" fmla="*/ 754 w 817"/>
                    <a:gd name="T69" fmla="*/ 108 h 1429"/>
                    <a:gd name="T70" fmla="*/ 754 w 817"/>
                    <a:gd name="T71" fmla="*/ 108 h 1429"/>
                    <a:gd name="T72" fmla="*/ 750 w 817"/>
                    <a:gd name="T73" fmla="*/ 93 h 1429"/>
                    <a:gd name="T74" fmla="*/ 743 w 817"/>
                    <a:gd name="T75" fmla="*/ 83 h 1429"/>
                    <a:gd name="T76" fmla="*/ 733 w 817"/>
                    <a:gd name="T77" fmla="*/ 72 h 1429"/>
                    <a:gd name="T78" fmla="*/ 722 w 817"/>
                    <a:gd name="T79" fmla="*/ 66 h 1429"/>
                    <a:gd name="T80" fmla="*/ 712 w 817"/>
                    <a:gd name="T81" fmla="*/ 59 h 1429"/>
                    <a:gd name="T82" fmla="*/ 436 w 817"/>
                    <a:gd name="T83" fmla="*/ 0 h 1429"/>
                    <a:gd name="T84" fmla="*/ 381 w 817"/>
                    <a:gd name="T85" fmla="*/ 0 h 14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817" h="1429">
                      <a:moveTo>
                        <a:pt x="381" y="0"/>
                      </a:moveTo>
                      <a:cubicBezTo>
                        <a:pt x="253" y="7"/>
                        <a:pt x="112" y="57"/>
                        <a:pt x="106" y="59"/>
                      </a:cubicBezTo>
                      <a:cubicBezTo>
                        <a:pt x="102" y="61"/>
                        <a:pt x="99" y="63"/>
                        <a:pt x="95" y="66"/>
                      </a:cubicBezTo>
                      <a:cubicBezTo>
                        <a:pt x="92" y="68"/>
                        <a:pt x="88" y="69"/>
                        <a:pt x="85" y="72"/>
                      </a:cubicBezTo>
                      <a:cubicBezTo>
                        <a:pt x="81" y="75"/>
                        <a:pt x="78" y="80"/>
                        <a:pt x="75" y="84"/>
                      </a:cubicBezTo>
                      <a:cubicBezTo>
                        <a:pt x="72" y="87"/>
                        <a:pt x="70" y="89"/>
                        <a:pt x="68" y="93"/>
                      </a:cubicBezTo>
                      <a:cubicBezTo>
                        <a:pt x="66" y="98"/>
                        <a:pt x="64" y="103"/>
                        <a:pt x="63" y="108"/>
                      </a:cubicBezTo>
                      <a:cubicBezTo>
                        <a:pt x="62" y="111"/>
                        <a:pt x="61" y="114"/>
                        <a:pt x="60" y="117"/>
                      </a:cubicBezTo>
                      <a:cubicBezTo>
                        <a:pt x="5" y="619"/>
                        <a:pt x="5" y="619"/>
                        <a:pt x="5" y="619"/>
                      </a:cubicBezTo>
                      <a:cubicBezTo>
                        <a:pt x="0" y="658"/>
                        <a:pt x="28" y="692"/>
                        <a:pt x="66" y="696"/>
                      </a:cubicBezTo>
                      <a:cubicBezTo>
                        <a:pt x="69" y="697"/>
                        <a:pt x="71" y="697"/>
                        <a:pt x="74" y="697"/>
                      </a:cubicBezTo>
                      <a:cubicBezTo>
                        <a:pt x="109" y="697"/>
                        <a:pt x="139" y="671"/>
                        <a:pt x="143" y="635"/>
                      </a:cubicBezTo>
                      <a:cubicBezTo>
                        <a:pt x="194" y="177"/>
                        <a:pt x="194" y="177"/>
                        <a:pt x="194" y="177"/>
                      </a:cubicBezTo>
                      <a:cubicBezTo>
                        <a:pt x="200" y="175"/>
                        <a:pt x="206" y="173"/>
                        <a:pt x="213" y="171"/>
                      </a:cubicBezTo>
                      <a:cubicBezTo>
                        <a:pt x="213" y="648"/>
                        <a:pt x="213" y="648"/>
                        <a:pt x="213" y="648"/>
                      </a:cubicBezTo>
                      <a:cubicBezTo>
                        <a:pt x="158" y="1338"/>
                        <a:pt x="158" y="1338"/>
                        <a:pt x="158" y="1338"/>
                      </a:cubicBezTo>
                      <a:cubicBezTo>
                        <a:pt x="154" y="1384"/>
                        <a:pt x="189" y="1425"/>
                        <a:pt x="235" y="1429"/>
                      </a:cubicBezTo>
                      <a:cubicBezTo>
                        <a:pt x="237" y="1429"/>
                        <a:pt x="239" y="1429"/>
                        <a:pt x="241" y="1429"/>
                      </a:cubicBezTo>
                      <a:cubicBezTo>
                        <a:pt x="285" y="1429"/>
                        <a:pt x="321" y="1396"/>
                        <a:pt x="325" y="1352"/>
                      </a:cubicBezTo>
                      <a:cubicBezTo>
                        <a:pt x="375" y="728"/>
                        <a:pt x="375" y="728"/>
                        <a:pt x="375" y="728"/>
                      </a:cubicBezTo>
                      <a:cubicBezTo>
                        <a:pt x="385" y="732"/>
                        <a:pt x="397" y="735"/>
                        <a:pt x="409" y="735"/>
                      </a:cubicBezTo>
                      <a:cubicBezTo>
                        <a:pt x="421" y="735"/>
                        <a:pt x="432" y="732"/>
                        <a:pt x="442" y="728"/>
                      </a:cubicBezTo>
                      <a:cubicBezTo>
                        <a:pt x="493" y="1352"/>
                        <a:pt x="493" y="1352"/>
                        <a:pt x="493" y="1352"/>
                      </a:cubicBezTo>
                      <a:cubicBezTo>
                        <a:pt x="496" y="1396"/>
                        <a:pt x="533" y="1429"/>
                        <a:pt x="576" y="1429"/>
                      </a:cubicBezTo>
                      <a:cubicBezTo>
                        <a:pt x="578" y="1429"/>
                        <a:pt x="581" y="1429"/>
                        <a:pt x="583" y="1429"/>
                      </a:cubicBezTo>
                      <a:cubicBezTo>
                        <a:pt x="629" y="1425"/>
                        <a:pt x="663" y="1384"/>
                        <a:pt x="660" y="1338"/>
                      </a:cubicBezTo>
                      <a:cubicBezTo>
                        <a:pt x="604" y="648"/>
                        <a:pt x="604" y="648"/>
                        <a:pt x="604" y="648"/>
                      </a:cubicBezTo>
                      <a:cubicBezTo>
                        <a:pt x="604" y="171"/>
                        <a:pt x="604" y="171"/>
                        <a:pt x="604" y="171"/>
                      </a:cubicBezTo>
                      <a:cubicBezTo>
                        <a:pt x="611" y="173"/>
                        <a:pt x="617" y="175"/>
                        <a:pt x="623" y="177"/>
                      </a:cubicBezTo>
                      <a:cubicBezTo>
                        <a:pt x="674" y="635"/>
                        <a:pt x="674" y="635"/>
                        <a:pt x="674" y="635"/>
                      </a:cubicBezTo>
                      <a:cubicBezTo>
                        <a:pt x="678" y="671"/>
                        <a:pt x="708" y="697"/>
                        <a:pt x="744" y="697"/>
                      </a:cubicBezTo>
                      <a:cubicBezTo>
                        <a:pt x="746" y="697"/>
                        <a:pt x="749" y="697"/>
                        <a:pt x="751" y="696"/>
                      </a:cubicBezTo>
                      <a:cubicBezTo>
                        <a:pt x="790" y="692"/>
                        <a:pt x="817" y="658"/>
                        <a:pt x="813" y="619"/>
                      </a:cubicBezTo>
                      <a:cubicBezTo>
                        <a:pt x="757" y="117"/>
                        <a:pt x="757" y="117"/>
                        <a:pt x="757" y="117"/>
                      </a:cubicBezTo>
                      <a:cubicBezTo>
                        <a:pt x="757" y="114"/>
                        <a:pt x="755" y="111"/>
                        <a:pt x="754" y="108"/>
                      </a:cubicBezTo>
                      <a:cubicBezTo>
                        <a:pt x="754" y="108"/>
                        <a:pt x="754" y="108"/>
                        <a:pt x="754" y="108"/>
                      </a:cubicBezTo>
                      <a:cubicBezTo>
                        <a:pt x="753" y="102"/>
                        <a:pt x="752" y="98"/>
                        <a:pt x="750" y="93"/>
                      </a:cubicBezTo>
                      <a:cubicBezTo>
                        <a:pt x="748" y="89"/>
                        <a:pt x="745" y="87"/>
                        <a:pt x="743" y="83"/>
                      </a:cubicBezTo>
                      <a:cubicBezTo>
                        <a:pt x="739" y="79"/>
                        <a:pt x="737" y="75"/>
                        <a:pt x="733" y="72"/>
                      </a:cubicBezTo>
                      <a:cubicBezTo>
                        <a:pt x="729" y="69"/>
                        <a:pt x="726" y="68"/>
                        <a:pt x="722" y="66"/>
                      </a:cubicBezTo>
                      <a:cubicBezTo>
                        <a:pt x="719" y="63"/>
                        <a:pt x="716" y="61"/>
                        <a:pt x="712" y="59"/>
                      </a:cubicBezTo>
                      <a:cubicBezTo>
                        <a:pt x="705" y="57"/>
                        <a:pt x="565" y="7"/>
                        <a:pt x="436" y="0"/>
                      </a:cubicBezTo>
                      <a:lnTo>
                        <a:pt x="38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200" b="1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</p:grpSp>
      <p:sp>
        <p:nvSpPr>
          <p:cNvPr id="200" name="Freeform 196">
            <a:extLst>
              <a:ext uri="{FF2B5EF4-FFF2-40B4-BE49-F238E27FC236}">
                <a16:creationId xmlns:a16="http://schemas.microsoft.com/office/drawing/2014/main" id="{6E92E71A-D7E1-43FB-A320-86FF6755D3C6}"/>
              </a:ext>
            </a:extLst>
          </p:cNvPr>
          <p:cNvSpPr>
            <a:spLocks/>
          </p:cNvSpPr>
          <p:nvPr/>
        </p:nvSpPr>
        <p:spPr bwMode="auto">
          <a:xfrm rot="5400000">
            <a:off x="7148393" y="2814313"/>
            <a:ext cx="105092" cy="0"/>
          </a:xfrm>
          <a:custGeom>
            <a:avLst/>
            <a:gdLst>
              <a:gd name="T0" fmla="*/ 324 w 324"/>
              <a:gd name="T1" fmla="*/ 0 w 324"/>
              <a:gd name="T2" fmla="*/ 324 w 324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324">
                <a:moveTo>
                  <a:pt x="324" y="0"/>
                </a:moveTo>
                <a:lnTo>
                  <a:pt x="0" y="0"/>
                </a:lnTo>
                <a:lnTo>
                  <a:pt x="324" y="0"/>
                </a:lnTo>
                <a:close/>
              </a:path>
            </a:pathLst>
          </a:custGeom>
          <a:solidFill>
            <a:srgbClr val="D7E9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1" name="Line 197">
            <a:extLst>
              <a:ext uri="{FF2B5EF4-FFF2-40B4-BE49-F238E27FC236}">
                <a16:creationId xmlns:a16="http://schemas.microsoft.com/office/drawing/2014/main" id="{B85DD2D7-A72A-4148-9EFA-74AA60CEDBD0}"/>
              </a:ext>
            </a:extLst>
          </p:cNvPr>
          <p:cNvSpPr>
            <a:spLocks noChangeShapeType="1"/>
          </p:cNvSpPr>
          <p:nvPr/>
        </p:nvSpPr>
        <p:spPr bwMode="auto">
          <a:xfrm rot="5400000" flipH="1">
            <a:off x="7148393" y="2814313"/>
            <a:ext cx="105092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2" name="Freeform 198">
            <a:extLst>
              <a:ext uri="{FF2B5EF4-FFF2-40B4-BE49-F238E27FC236}">
                <a16:creationId xmlns:a16="http://schemas.microsoft.com/office/drawing/2014/main" id="{C8953E35-252F-4DE1-B249-098EC9A7539B}"/>
              </a:ext>
            </a:extLst>
          </p:cNvPr>
          <p:cNvSpPr>
            <a:spLocks/>
          </p:cNvSpPr>
          <p:nvPr/>
        </p:nvSpPr>
        <p:spPr bwMode="auto">
          <a:xfrm rot="5400000">
            <a:off x="7704343" y="1994985"/>
            <a:ext cx="0" cy="38274"/>
          </a:xfrm>
          <a:custGeom>
            <a:avLst/>
            <a:gdLst>
              <a:gd name="T0" fmla="*/ 118 h 118"/>
              <a:gd name="T1" fmla="*/ 0 h 118"/>
              <a:gd name="T2" fmla="*/ 118 h 118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18">
                <a:moveTo>
                  <a:pt x="0" y="118"/>
                </a:moveTo>
                <a:lnTo>
                  <a:pt x="0" y="0"/>
                </a:lnTo>
                <a:lnTo>
                  <a:pt x="0" y="118"/>
                </a:lnTo>
                <a:close/>
              </a:path>
            </a:pathLst>
          </a:custGeom>
          <a:solidFill>
            <a:srgbClr val="D7E9F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3" name="Line 199">
            <a:extLst>
              <a:ext uri="{FF2B5EF4-FFF2-40B4-BE49-F238E27FC236}">
                <a16:creationId xmlns:a16="http://schemas.microsoft.com/office/drawing/2014/main" id="{92B709A1-7994-4108-83AC-DA0A643B3B01}"/>
              </a:ext>
            </a:extLst>
          </p:cNvPr>
          <p:cNvSpPr>
            <a:spLocks noChangeShapeType="1"/>
          </p:cNvSpPr>
          <p:nvPr/>
        </p:nvSpPr>
        <p:spPr bwMode="auto">
          <a:xfrm rot="5400000" flipV="1">
            <a:off x="7704343" y="1994985"/>
            <a:ext cx="0" cy="38274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4" name="Freeform 200">
            <a:extLst>
              <a:ext uri="{FF2B5EF4-FFF2-40B4-BE49-F238E27FC236}">
                <a16:creationId xmlns:a16="http://schemas.microsoft.com/office/drawing/2014/main" id="{7A1DD038-3C8E-43D1-8771-BEB494A9CF67}"/>
              </a:ext>
            </a:extLst>
          </p:cNvPr>
          <p:cNvSpPr>
            <a:spLocks/>
          </p:cNvSpPr>
          <p:nvPr/>
        </p:nvSpPr>
        <p:spPr bwMode="auto">
          <a:xfrm rot="5400000">
            <a:off x="6887775" y="2213459"/>
            <a:ext cx="891442" cy="547347"/>
          </a:xfrm>
          <a:custGeom>
            <a:avLst/>
            <a:gdLst>
              <a:gd name="T0" fmla="*/ 0 w 2629"/>
              <a:gd name="T1" fmla="*/ 0 h 1611"/>
              <a:gd name="T2" fmla="*/ 0 w 2629"/>
              <a:gd name="T3" fmla="*/ 118 h 1611"/>
              <a:gd name="T4" fmla="*/ 0 w 2629"/>
              <a:gd name="T5" fmla="*/ 1611 h 1611"/>
              <a:gd name="T6" fmla="*/ 2305 w 2629"/>
              <a:gd name="T7" fmla="*/ 1611 h 1611"/>
              <a:gd name="T8" fmla="*/ 2629 w 2629"/>
              <a:gd name="T9" fmla="*/ 1611 h 1611"/>
              <a:gd name="T10" fmla="*/ 0 w 2629"/>
              <a:gd name="T11" fmla="*/ 0 h 1611"/>
              <a:gd name="connsiteX0" fmla="*/ 0 w 10030"/>
              <a:gd name="connsiteY0" fmla="*/ 0 h 10000"/>
              <a:gd name="connsiteX1" fmla="*/ 0 w 10030"/>
              <a:gd name="connsiteY1" fmla="*/ 732 h 10000"/>
              <a:gd name="connsiteX2" fmla="*/ 0 w 10030"/>
              <a:gd name="connsiteY2" fmla="*/ 10000 h 10000"/>
              <a:gd name="connsiteX3" fmla="*/ 8768 w 10030"/>
              <a:gd name="connsiteY3" fmla="*/ 10000 h 10000"/>
              <a:gd name="connsiteX4" fmla="*/ 10030 w 10030"/>
              <a:gd name="connsiteY4" fmla="*/ 9975 h 10000"/>
              <a:gd name="connsiteX5" fmla="*/ 0 w 10030"/>
              <a:gd name="connsiteY5" fmla="*/ 0 h 10000"/>
              <a:gd name="connsiteX0" fmla="*/ 15 w 10030"/>
              <a:gd name="connsiteY0" fmla="*/ 0 h 10050"/>
              <a:gd name="connsiteX1" fmla="*/ 0 w 10030"/>
              <a:gd name="connsiteY1" fmla="*/ 782 h 10050"/>
              <a:gd name="connsiteX2" fmla="*/ 0 w 10030"/>
              <a:gd name="connsiteY2" fmla="*/ 10050 h 10050"/>
              <a:gd name="connsiteX3" fmla="*/ 8768 w 10030"/>
              <a:gd name="connsiteY3" fmla="*/ 10050 h 10050"/>
              <a:gd name="connsiteX4" fmla="*/ 10030 w 10030"/>
              <a:gd name="connsiteY4" fmla="*/ 10025 h 10050"/>
              <a:gd name="connsiteX5" fmla="*/ 15 w 10030"/>
              <a:gd name="connsiteY5" fmla="*/ 0 h 1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30" h="10050">
                <a:moveTo>
                  <a:pt x="15" y="0"/>
                </a:moveTo>
                <a:cubicBezTo>
                  <a:pt x="10" y="261"/>
                  <a:pt x="5" y="521"/>
                  <a:pt x="0" y="782"/>
                </a:cubicBezTo>
                <a:lnTo>
                  <a:pt x="0" y="10050"/>
                </a:lnTo>
                <a:lnTo>
                  <a:pt x="8768" y="10050"/>
                </a:lnTo>
                <a:lnTo>
                  <a:pt x="10030" y="10025"/>
                </a:lnTo>
                <a:lnTo>
                  <a:pt x="15" y="0"/>
                </a:lnTo>
                <a:close/>
              </a:path>
            </a:pathLst>
          </a:custGeom>
          <a:solidFill>
            <a:srgbClr val="C7E3F3">
              <a:alpha val="84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6" name="Freeform 195">
            <a:extLst>
              <a:ext uri="{FF2B5EF4-FFF2-40B4-BE49-F238E27FC236}">
                <a16:creationId xmlns:a16="http://schemas.microsoft.com/office/drawing/2014/main" id="{8D7ACA7E-3E9A-47BA-AB14-99B43AF7C5D8}"/>
              </a:ext>
            </a:extLst>
          </p:cNvPr>
          <p:cNvSpPr>
            <a:spLocks/>
          </p:cNvSpPr>
          <p:nvPr/>
        </p:nvSpPr>
        <p:spPr bwMode="auto">
          <a:xfrm rot="5400000">
            <a:off x="6887747" y="2213487"/>
            <a:ext cx="888775" cy="544623"/>
          </a:xfrm>
          <a:custGeom>
            <a:avLst/>
            <a:gdLst>
              <a:gd name="T0" fmla="*/ 2629 w 2629"/>
              <a:gd name="T1" fmla="*/ 0 h 1611"/>
              <a:gd name="T2" fmla="*/ 0 w 2629"/>
              <a:gd name="T3" fmla="*/ 0 h 1611"/>
              <a:gd name="T4" fmla="*/ 2629 w 2629"/>
              <a:gd name="T5" fmla="*/ 1611 h 1611"/>
              <a:gd name="T6" fmla="*/ 2629 w 2629"/>
              <a:gd name="T7" fmla="*/ 0 h 1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629" h="1611">
                <a:moveTo>
                  <a:pt x="2629" y="0"/>
                </a:moveTo>
                <a:lnTo>
                  <a:pt x="0" y="0"/>
                </a:lnTo>
                <a:lnTo>
                  <a:pt x="2629" y="1611"/>
                </a:lnTo>
                <a:lnTo>
                  <a:pt x="2629" y="0"/>
                </a:lnTo>
                <a:close/>
              </a:path>
            </a:pathLst>
          </a:custGeom>
          <a:solidFill>
            <a:srgbClr val="D7E9F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" name="Freeform 194">
            <a:extLst>
              <a:ext uri="{FF2B5EF4-FFF2-40B4-BE49-F238E27FC236}">
                <a16:creationId xmlns:a16="http://schemas.microsoft.com/office/drawing/2014/main" id="{E7DC9536-86DB-4DFA-836C-C0C8EEEA7C95}"/>
              </a:ext>
            </a:extLst>
          </p:cNvPr>
          <p:cNvSpPr>
            <a:spLocks noEditPoints="1"/>
          </p:cNvSpPr>
          <p:nvPr/>
        </p:nvSpPr>
        <p:spPr bwMode="auto">
          <a:xfrm rot="5400000">
            <a:off x="6719728" y="2181709"/>
            <a:ext cx="1224812" cy="665651"/>
          </a:xfrm>
          <a:custGeom>
            <a:avLst/>
            <a:gdLst>
              <a:gd name="T0" fmla="*/ 1743 w 1743"/>
              <a:gd name="T1" fmla="*/ 172 h 947"/>
              <a:gd name="T2" fmla="*/ 1585 w 1743"/>
              <a:gd name="T3" fmla="*/ 0 h 947"/>
              <a:gd name="T4" fmla="*/ 159 w 1743"/>
              <a:gd name="T5" fmla="*/ 0 h 947"/>
              <a:gd name="T6" fmla="*/ 0 w 1743"/>
              <a:gd name="T7" fmla="*/ 172 h 947"/>
              <a:gd name="T8" fmla="*/ 0 w 1743"/>
              <a:gd name="T9" fmla="*/ 775 h 947"/>
              <a:gd name="T10" fmla="*/ 159 w 1743"/>
              <a:gd name="T11" fmla="*/ 947 h 947"/>
              <a:gd name="T12" fmla="*/ 1585 w 1743"/>
              <a:gd name="T13" fmla="*/ 947 h 947"/>
              <a:gd name="T14" fmla="*/ 1743 w 1743"/>
              <a:gd name="T15" fmla="*/ 775 h 947"/>
              <a:gd name="T16" fmla="*/ 1743 w 1743"/>
              <a:gd name="T17" fmla="*/ 172 h 947"/>
              <a:gd name="T18" fmla="*/ 1743 w 1743"/>
              <a:gd name="T19" fmla="*/ 172 h 947"/>
              <a:gd name="T20" fmla="*/ 97 w 1743"/>
              <a:gd name="T21" fmla="*/ 603 h 947"/>
              <a:gd name="T22" fmla="*/ 80 w 1743"/>
              <a:gd name="T23" fmla="*/ 592 h 947"/>
              <a:gd name="T24" fmla="*/ 80 w 1743"/>
              <a:gd name="T25" fmla="*/ 356 h 947"/>
              <a:gd name="T26" fmla="*/ 97 w 1743"/>
              <a:gd name="T27" fmla="*/ 344 h 947"/>
              <a:gd name="T28" fmla="*/ 102 w 1743"/>
              <a:gd name="T29" fmla="*/ 344 h 947"/>
              <a:gd name="T30" fmla="*/ 119 w 1743"/>
              <a:gd name="T31" fmla="*/ 356 h 947"/>
              <a:gd name="T32" fmla="*/ 119 w 1743"/>
              <a:gd name="T33" fmla="*/ 592 h 947"/>
              <a:gd name="T34" fmla="*/ 102 w 1743"/>
              <a:gd name="T35" fmla="*/ 603 h 947"/>
              <a:gd name="T36" fmla="*/ 97 w 1743"/>
              <a:gd name="T37" fmla="*/ 603 h 947"/>
              <a:gd name="T38" fmla="*/ 97 w 1743"/>
              <a:gd name="T39" fmla="*/ 603 h 947"/>
              <a:gd name="T40" fmla="*/ 198 w 1743"/>
              <a:gd name="T41" fmla="*/ 861 h 947"/>
              <a:gd name="T42" fmla="*/ 198 w 1743"/>
              <a:gd name="T43" fmla="*/ 86 h 947"/>
              <a:gd name="T44" fmla="*/ 1463 w 1743"/>
              <a:gd name="T45" fmla="*/ 86 h 947"/>
              <a:gd name="T46" fmla="*/ 1463 w 1743"/>
              <a:gd name="T47" fmla="*/ 861 h 947"/>
              <a:gd name="T48" fmla="*/ 198 w 1743"/>
              <a:gd name="T49" fmla="*/ 861 h 947"/>
              <a:gd name="T50" fmla="*/ 198 w 1743"/>
              <a:gd name="T51" fmla="*/ 861 h 947"/>
              <a:gd name="T52" fmla="*/ 198 w 1743"/>
              <a:gd name="T53" fmla="*/ 861 h 947"/>
              <a:gd name="T54" fmla="*/ 198 w 1743"/>
              <a:gd name="T55" fmla="*/ 861 h 9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743" h="947">
                <a:moveTo>
                  <a:pt x="1743" y="172"/>
                </a:moveTo>
                <a:cubicBezTo>
                  <a:pt x="1743" y="172"/>
                  <a:pt x="1743" y="0"/>
                  <a:pt x="1585" y="0"/>
                </a:cubicBezTo>
                <a:cubicBezTo>
                  <a:pt x="159" y="0"/>
                  <a:pt x="159" y="0"/>
                  <a:pt x="159" y="0"/>
                </a:cubicBezTo>
                <a:cubicBezTo>
                  <a:pt x="0" y="0"/>
                  <a:pt x="0" y="172"/>
                  <a:pt x="0" y="172"/>
                </a:cubicBezTo>
                <a:cubicBezTo>
                  <a:pt x="0" y="775"/>
                  <a:pt x="0" y="775"/>
                  <a:pt x="0" y="775"/>
                </a:cubicBezTo>
                <a:cubicBezTo>
                  <a:pt x="0" y="775"/>
                  <a:pt x="0" y="947"/>
                  <a:pt x="159" y="947"/>
                </a:cubicBezTo>
                <a:cubicBezTo>
                  <a:pt x="1585" y="947"/>
                  <a:pt x="1585" y="947"/>
                  <a:pt x="1585" y="947"/>
                </a:cubicBezTo>
                <a:cubicBezTo>
                  <a:pt x="1743" y="947"/>
                  <a:pt x="1743" y="775"/>
                  <a:pt x="1743" y="775"/>
                </a:cubicBezTo>
                <a:cubicBezTo>
                  <a:pt x="1743" y="172"/>
                  <a:pt x="1743" y="172"/>
                  <a:pt x="1743" y="172"/>
                </a:cubicBezTo>
                <a:cubicBezTo>
                  <a:pt x="1743" y="172"/>
                  <a:pt x="1743" y="172"/>
                  <a:pt x="1743" y="172"/>
                </a:cubicBezTo>
                <a:close/>
                <a:moveTo>
                  <a:pt x="97" y="603"/>
                </a:moveTo>
                <a:cubicBezTo>
                  <a:pt x="87" y="603"/>
                  <a:pt x="80" y="598"/>
                  <a:pt x="80" y="592"/>
                </a:cubicBezTo>
                <a:cubicBezTo>
                  <a:pt x="80" y="356"/>
                  <a:pt x="80" y="356"/>
                  <a:pt x="80" y="356"/>
                </a:cubicBezTo>
                <a:cubicBezTo>
                  <a:pt x="80" y="350"/>
                  <a:pt x="87" y="344"/>
                  <a:pt x="97" y="344"/>
                </a:cubicBezTo>
                <a:cubicBezTo>
                  <a:pt x="102" y="344"/>
                  <a:pt x="102" y="344"/>
                  <a:pt x="102" y="344"/>
                </a:cubicBezTo>
                <a:cubicBezTo>
                  <a:pt x="112" y="344"/>
                  <a:pt x="119" y="350"/>
                  <a:pt x="119" y="356"/>
                </a:cubicBezTo>
                <a:cubicBezTo>
                  <a:pt x="119" y="592"/>
                  <a:pt x="119" y="592"/>
                  <a:pt x="119" y="592"/>
                </a:cubicBezTo>
                <a:cubicBezTo>
                  <a:pt x="119" y="598"/>
                  <a:pt x="112" y="603"/>
                  <a:pt x="102" y="603"/>
                </a:cubicBezTo>
                <a:cubicBezTo>
                  <a:pt x="97" y="603"/>
                  <a:pt x="97" y="603"/>
                  <a:pt x="97" y="603"/>
                </a:cubicBezTo>
                <a:cubicBezTo>
                  <a:pt x="97" y="603"/>
                  <a:pt x="97" y="603"/>
                  <a:pt x="97" y="603"/>
                </a:cubicBezTo>
                <a:close/>
                <a:moveTo>
                  <a:pt x="198" y="861"/>
                </a:moveTo>
                <a:cubicBezTo>
                  <a:pt x="198" y="86"/>
                  <a:pt x="198" y="86"/>
                  <a:pt x="198" y="86"/>
                </a:cubicBezTo>
                <a:cubicBezTo>
                  <a:pt x="1463" y="86"/>
                  <a:pt x="1463" y="86"/>
                  <a:pt x="1463" y="86"/>
                </a:cubicBezTo>
                <a:cubicBezTo>
                  <a:pt x="1463" y="861"/>
                  <a:pt x="1463" y="861"/>
                  <a:pt x="1463" y="861"/>
                </a:cubicBezTo>
                <a:cubicBezTo>
                  <a:pt x="198" y="861"/>
                  <a:pt x="198" y="861"/>
                  <a:pt x="198" y="861"/>
                </a:cubicBezTo>
                <a:cubicBezTo>
                  <a:pt x="198" y="861"/>
                  <a:pt x="198" y="861"/>
                  <a:pt x="198" y="861"/>
                </a:cubicBezTo>
                <a:close/>
                <a:moveTo>
                  <a:pt x="198" y="861"/>
                </a:moveTo>
                <a:cubicBezTo>
                  <a:pt x="198" y="861"/>
                  <a:pt x="198" y="861"/>
                  <a:pt x="198" y="861"/>
                </a:cubicBezTo>
              </a:path>
            </a:pathLst>
          </a:custGeom>
          <a:solidFill>
            <a:srgbClr val="01010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8AAD9CED-68C3-49DF-8366-74B86503F697}"/>
              </a:ext>
            </a:extLst>
          </p:cNvPr>
          <p:cNvGrpSpPr/>
          <p:nvPr/>
        </p:nvGrpSpPr>
        <p:grpSpPr>
          <a:xfrm>
            <a:off x="7102050" y="2079147"/>
            <a:ext cx="462892" cy="815971"/>
            <a:chOff x="6310866" y="2078049"/>
            <a:chExt cx="462892" cy="815971"/>
          </a:xfrm>
        </p:grpSpPr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647A75DC-62C4-4CDF-AEED-C4B1AB8B0717}"/>
                </a:ext>
              </a:extLst>
            </p:cNvPr>
            <p:cNvSpPr txBox="1"/>
            <p:nvPr/>
          </p:nvSpPr>
          <p:spPr>
            <a:xfrm>
              <a:off x="6310866" y="2078049"/>
              <a:ext cx="462892" cy="2308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500" dirty="0">
                  <a:solidFill>
                    <a:srgbClr val="137B94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MART</a:t>
              </a:r>
              <a:br>
                <a:rPr lang="en-US" sz="500" dirty="0">
                  <a:solidFill>
                    <a:srgbClr val="137B94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sz="500" dirty="0">
                  <a:solidFill>
                    <a:srgbClr val="137B94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HONES</a:t>
              </a:r>
            </a:p>
            <a:p>
              <a:pPr algn="ctr"/>
              <a:r>
                <a:rPr lang="en-US" sz="500" dirty="0">
                  <a:solidFill>
                    <a:srgbClr val="137B94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ND TABLETS</a:t>
              </a:r>
            </a:p>
          </p:txBody>
        </p:sp>
        <p:sp>
          <p:nvSpPr>
            <p:cNvPr id="209" name="TextBox 208">
              <a:extLst>
                <a:ext uri="{FF2B5EF4-FFF2-40B4-BE49-F238E27FC236}">
                  <a16:creationId xmlns:a16="http://schemas.microsoft.com/office/drawing/2014/main" id="{C0DD44B0-4BDC-4124-88C5-089A3B00D22E}"/>
                </a:ext>
              </a:extLst>
            </p:cNvPr>
            <p:cNvSpPr txBox="1"/>
            <p:nvPr/>
          </p:nvSpPr>
          <p:spPr>
            <a:xfrm>
              <a:off x="6422591" y="2337909"/>
              <a:ext cx="239442" cy="1231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800" b="1" dirty="0">
                  <a:solidFill>
                    <a:srgbClr val="4BA1D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1%</a:t>
              </a:r>
            </a:p>
          </p:txBody>
        </p:sp>
        <p:sp>
          <p:nvSpPr>
            <p:cNvPr id="210" name="TextBox 209">
              <a:extLst>
                <a:ext uri="{FF2B5EF4-FFF2-40B4-BE49-F238E27FC236}">
                  <a16:creationId xmlns:a16="http://schemas.microsoft.com/office/drawing/2014/main" id="{A796F8F8-B37A-4296-9DEE-81E7BE63BE3C}"/>
                </a:ext>
              </a:extLst>
            </p:cNvPr>
            <p:cNvSpPr txBox="1"/>
            <p:nvPr/>
          </p:nvSpPr>
          <p:spPr>
            <a:xfrm>
              <a:off x="6314480" y="2474771"/>
              <a:ext cx="455665" cy="1231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400" dirty="0">
                  <a:solidFill>
                    <a:srgbClr val="1A9CB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f shoppers prefers</a:t>
              </a:r>
            </a:p>
            <a:p>
              <a:r>
                <a:rPr lang="en-US" sz="400" dirty="0">
                  <a:solidFill>
                    <a:srgbClr val="10323B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searching</a:t>
              </a:r>
              <a:r>
                <a:rPr lang="en-US" sz="400" dirty="0">
                  <a:solidFill>
                    <a:srgbClr val="1A9CB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and</a:t>
              </a: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8E493A76-577D-4DEB-AD97-A4E2C448002F}"/>
                </a:ext>
              </a:extLst>
            </p:cNvPr>
            <p:cNvSpPr txBox="1"/>
            <p:nvPr/>
          </p:nvSpPr>
          <p:spPr>
            <a:xfrm>
              <a:off x="6431910" y="2634049"/>
              <a:ext cx="22080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800" b="1" dirty="0">
                  <a:solidFill>
                    <a:srgbClr val="4BA1D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1%</a:t>
              </a:r>
            </a:p>
          </p:txBody>
        </p: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1707E810-6FBA-43C5-A637-5F31174E07BE}"/>
                </a:ext>
              </a:extLst>
            </p:cNvPr>
            <p:cNvSpPr txBox="1"/>
            <p:nvPr/>
          </p:nvSpPr>
          <p:spPr>
            <a:xfrm>
              <a:off x="6317500" y="2770910"/>
              <a:ext cx="449624" cy="1231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400" dirty="0">
                  <a:solidFill>
                    <a:srgbClr val="1A9CB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efer </a:t>
              </a:r>
              <a:r>
                <a:rPr lang="en-US" sz="400" dirty="0">
                  <a:solidFill>
                    <a:srgbClr val="10323B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urchasing</a:t>
              </a:r>
            </a:p>
            <a:p>
              <a:r>
                <a:rPr lang="en-US" sz="400" dirty="0">
                  <a:solidFill>
                    <a:srgbClr val="1A9CB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n these devices</a:t>
              </a:r>
            </a:p>
          </p:txBody>
        </p:sp>
      </p:grpSp>
      <p:sp>
        <p:nvSpPr>
          <p:cNvPr id="214" name="Freeform 173">
            <a:extLst>
              <a:ext uri="{FF2B5EF4-FFF2-40B4-BE49-F238E27FC236}">
                <a16:creationId xmlns:a16="http://schemas.microsoft.com/office/drawing/2014/main" id="{65CF1D64-B575-44CA-8CEF-90C1DB215BA3}"/>
              </a:ext>
            </a:extLst>
          </p:cNvPr>
          <p:cNvSpPr>
            <a:spLocks/>
          </p:cNvSpPr>
          <p:nvPr/>
        </p:nvSpPr>
        <p:spPr bwMode="auto">
          <a:xfrm>
            <a:off x="4946682" y="2517323"/>
            <a:ext cx="1943724" cy="115046"/>
          </a:xfrm>
          <a:custGeom>
            <a:avLst/>
            <a:gdLst>
              <a:gd name="T0" fmla="*/ 0 w 3413"/>
              <a:gd name="T1" fmla="*/ 241 h 241"/>
              <a:gd name="T2" fmla="*/ 328 w 3413"/>
              <a:gd name="T3" fmla="*/ 0 h 241"/>
              <a:gd name="T4" fmla="*/ 3087 w 3413"/>
              <a:gd name="T5" fmla="*/ 0 h 241"/>
              <a:gd name="T6" fmla="*/ 3413 w 3413"/>
              <a:gd name="T7" fmla="*/ 241 h 241"/>
              <a:gd name="T8" fmla="*/ 0 w 3413"/>
              <a:gd name="T9" fmla="*/ 241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413" h="241">
                <a:moveTo>
                  <a:pt x="0" y="241"/>
                </a:moveTo>
                <a:lnTo>
                  <a:pt x="328" y="0"/>
                </a:lnTo>
                <a:lnTo>
                  <a:pt x="3087" y="0"/>
                </a:lnTo>
                <a:lnTo>
                  <a:pt x="3413" y="241"/>
                </a:lnTo>
                <a:lnTo>
                  <a:pt x="0" y="241"/>
                </a:lnTo>
                <a:close/>
              </a:path>
            </a:pathLst>
          </a:custGeom>
          <a:solidFill>
            <a:srgbClr val="05242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5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7" name="Group 556">
            <a:extLst>
              <a:ext uri="{FF2B5EF4-FFF2-40B4-BE49-F238E27FC236}">
                <a16:creationId xmlns:a16="http://schemas.microsoft.com/office/drawing/2014/main" id="{E68372FC-6218-4284-93C0-2BC5206F8E3D}"/>
              </a:ext>
            </a:extLst>
          </p:cNvPr>
          <p:cNvGrpSpPr/>
          <p:nvPr/>
        </p:nvGrpSpPr>
        <p:grpSpPr>
          <a:xfrm>
            <a:off x="5175661" y="1798408"/>
            <a:ext cx="1401551" cy="1395823"/>
            <a:chOff x="4296323" y="1798408"/>
            <a:chExt cx="1401551" cy="1395823"/>
          </a:xfrm>
        </p:grpSpPr>
        <p:sp>
          <p:nvSpPr>
            <p:cNvPr id="215" name="Freeform 174">
              <a:extLst>
                <a:ext uri="{FF2B5EF4-FFF2-40B4-BE49-F238E27FC236}">
                  <a16:creationId xmlns:a16="http://schemas.microsoft.com/office/drawing/2014/main" id="{13A064C7-22D2-4E40-AA81-E40E13E90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2075" y="1814161"/>
              <a:ext cx="1370045" cy="1364316"/>
            </a:xfrm>
            <a:custGeom>
              <a:avLst/>
              <a:gdLst>
                <a:gd name="T0" fmla="*/ 1046 w 2092"/>
                <a:gd name="T1" fmla="*/ 2086 h 2086"/>
                <a:gd name="T2" fmla="*/ 693 w 2092"/>
                <a:gd name="T3" fmla="*/ 2025 h 2086"/>
                <a:gd name="T4" fmla="*/ 392 w 2092"/>
                <a:gd name="T5" fmla="*/ 1856 h 2086"/>
                <a:gd name="T6" fmla="*/ 28 w 2092"/>
                <a:gd name="T7" fmla="*/ 1282 h 2086"/>
                <a:gd name="T8" fmla="*/ 0 w 2092"/>
                <a:gd name="T9" fmla="*/ 1043 h 2086"/>
                <a:gd name="T10" fmla="*/ 307 w 2092"/>
                <a:gd name="T11" fmla="*/ 306 h 2086"/>
                <a:gd name="T12" fmla="*/ 1046 w 2092"/>
                <a:gd name="T13" fmla="*/ 0 h 2086"/>
                <a:gd name="T14" fmla="*/ 1785 w 2092"/>
                <a:gd name="T15" fmla="*/ 306 h 2086"/>
                <a:gd name="T16" fmla="*/ 2092 w 2092"/>
                <a:gd name="T17" fmla="*/ 1043 h 2086"/>
                <a:gd name="T18" fmla="*/ 1785 w 2092"/>
                <a:gd name="T19" fmla="*/ 1780 h 2086"/>
                <a:gd name="T20" fmla="*/ 1046 w 2092"/>
                <a:gd name="T21" fmla="*/ 2086 h 2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92" h="2086">
                  <a:moveTo>
                    <a:pt x="1046" y="2086"/>
                  </a:moveTo>
                  <a:cubicBezTo>
                    <a:pt x="925" y="2086"/>
                    <a:pt x="806" y="2065"/>
                    <a:pt x="693" y="2025"/>
                  </a:cubicBezTo>
                  <a:cubicBezTo>
                    <a:pt x="584" y="1986"/>
                    <a:pt x="483" y="1929"/>
                    <a:pt x="392" y="1856"/>
                  </a:cubicBezTo>
                  <a:cubicBezTo>
                    <a:pt x="210" y="1711"/>
                    <a:pt x="81" y="1507"/>
                    <a:pt x="28" y="1282"/>
                  </a:cubicBezTo>
                  <a:cubicBezTo>
                    <a:pt x="10" y="1204"/>
                    <a:pt x="0" y="1124"/>
                    <a:pt x="0" y="1043"/>
                  </a:cubicBezTo>
                  <a:cubicBezTo>
                    <a:pt x="0" y="765"/>
                    <a:pt x="109" y="503"/>
                    <a:pt x="307" y="306"/>
                  </a:cubicBezTo>
                  <a:cubicBezTo>
                    <a:pt x="504" y="109"/>
                    <a:pt x="767" y="0"/>
                    <a:pt x="1046" y="0"/>
                  </a:cubicBezTo>
                  <a:cubicBezTo>
                    <a:pt x="1325" y="0"/>
                    <a:pt x="1588" y="109"/>
                    <a:pt x="1785" y="306"/>
                  </a:cubicBezTo>
                  <a:cubicBezTo>
                    <a:pt x="1983" y="503"/>
                    <a:pt x="2092" y="765"/>
                    <a:pt x="2092" y="1043"/>
                  </a:cubicBezTo>
                  <a:cubicBezTo>
                    <a:pt x="2092" y="1321"/>
                    <a:pt x="1983" y="1583"/>
                    <a:pt x="1785" y="1780"/>
                  </a:cubicBezTo>
                  <a:cubicBezTo>
                    <a:pt x="1588" y="1977"/>
                    <a:pt x="1325" y="2086"/>
                    <a:pt x="1046" y="2086"/>
                  </a:cubicBezTo>
                  <a:close/>
                </a:path>
              </a:pathLst>
            </a:custGeom>
            <a:solidFill>
              <a:srgbClr val="1A9CBC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6" name="Freeform 175">
              <a:extLst>
                <a:ext uri="{FF2B5EF4-FFF2-40B4-BE49-F238E27FC236}">
                  <a16:creationId xmlns:a16="http://schemas.microsoft.com/office/drawing/2014/main" id="{96CA2828-EDB4-447D-A5F9-085BC5F6D5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6323" y="1798408"/>
              <a:ext cx="1401551" cy="1395823"/>
            </a:xfrm>
            <a:custGeom>
              <a:avLst/>
              <a:gdLst>
                <a:gd name="T0" fmla="*/ 1070 w 2140"/>
                <a:gd name="T1" fmla="*/ 48 h 2134"/>
                <a:gd name="T2" fmla="*/ 2092 w 2140"/>
                <a:gd name="T3" fmla="*/ 1067 h 2134"/>
                <a:gd name="T4" fmla="*/ 1070 w 2140"/>
                <a:gd name="T5" fmla="*/ 2086 h 2134"/>
                <a:gd name="T6" fmla="*/ 75 w 2140"/>
                <a:gd name="T7" fmla="*/ 1300 h 2134"/>
                <a:gd name="T8" fmla="*/ 48 w 2140"/>
                <a:gd name="T9" fmla="*/ 1067 h 2134"/>
                <a:gd name="T10" fmla="*/ 1070 w 2140"/>
                <a:gd name="T11" fmla="*/ 48 h 2134"/>
                <a:gd name="T12" fmla="*/ 1070 w 2140"/>
                <a:gd name="T13" fmla="*/ 0 h 2134"/>
                <a:gd name="T14" fmla="*/ 654 w 2140"/>
                <a:gd name="T15" fmla="*/ 84 h 2134"/>
                <a:gd name="T16" fmla="*/ 314 w 2140"/>
                <a:gd name="T17" fmla="*/ 313 h 2134"/>
                <a:gd name="T18" fmla="*/ 85 w 2140"/>
                <a:gd name="T19" fmla="*/ 652 h 2134"/>
                <a:gd name="T20" fmla="*/ 0 w 2140"/>
                <a:gd name="T21" fmla="*/ 1067 h 2134"/>
                <a:gd name="T22" fmla="*/ 29 w 2140"/>
                <a:gd name="T23" fmla="*/ 1311 h 2134"/>
                <a:gd name="T24" fmla="*/ 167 w 2140"/>
                <a:gd name="T25" fmla="*/ 1639 h 2134"/>
                <a:gd name="T26" fmla="*/ 401 w 2140"/>
                <a:gd name="T27" fmla="*/ 1899 h 2134"/>
                <a:gd name="T28" fmla="*/ 709 w 2140"/>
                <a:gd name="T29" fmla="*/ 2071 h 2134"/>
                <a:gd name="T30" fmla="*/ 1070 w 2140"/>
                <a:gd name="T31" fmla="*/ 2134 h 2134"/>
                <a:gd name="T32" fmla="*/ 1486 w 2140"/>
                <a:gd name="T33" fmla="*/ 2050 h 2134"/>
                <a:gd name="T34" fmla="*/ 1826 w 2140"/>
                <a:gd name="T35" fmla="*/ 1821 h 2134"/>
                <a:gd name="T36" fmla="*/ 2056 w 2140"/>
                <a:gd name="T37" fmla="*/ 1482 h 2134"/>
                <a:gd name="T38" fmla="*/ 2140 w 2140"/>
                <a:gd name="T39" fmla="*/ 1067 h 2134"/>
                <a:gd name="T40" fmla="*/ 2056 w 2140"/>
                <a:gd name="T41" fmla="*/ 652 h 2134"/>
                <a:gd name="T42" fmla="*/ 1826 w 2140"/>
                <a:gd name="T43" fmla="*/ 313 h 2134"/>
                <a:gd name="T44" fmla="*/ 1486 w 2140"/>
                <a:gd name="T45" fmla="*/ 84 h 2134"/>
                <a:gd name="T46" fmla="*/ 1070 w 2140"/>
                <a:gd name="T47" fmla="*/ 0 h 2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40" h="2134">
                  <a:moveTo>
                    <a:pt x="1070" y="48"/>
                  </a:moveTo>
                  <a:cubicBezTo>
                    <a:pt x="1634" y="48"/>
                    <a:pt x="2092" y="504"/>
                    <a:pt x="2092" y="1067"/>
                  </a:cubicBezTo>
                  <a:cubicBezTo>
                    <a:pt x="2092" y="1630"/>
                    <a:pt x="1634" y="2086"/>
                    <a:pt x="1070" y="2086"/>
                  </a:cubicBezTo>
                  <a:cubicBezTo>
                    <a:pt x="586" y="2086"/>
                    <a:pt x="181" y="1750"/>
                    <a:pt x="75" y="1300"/>
                  </a:cubicBezTo>
                  <a:cubicBezTo>
                    <a:pt x="58" y="1225"/>
                    <a:pt x="48" y="1147"/>
                    <a:pt x="48" y="1067"/>
                  </a:cubicBezTo>
                  <a:cubicBezTo>
                    <a:pt x="48" y="504"/>
                    <a:pt x="506" y="48"/>
                    <a:pt x="1070" y="48"/>
                  </a:cubicBezTo>
                  <a:moveTo>
                    <a:pt x="1070" y="0"/>
                  </a:moveTo>
                  <a:cubicBezTo>
                    <a:pt x="926" y="0"/>
                    <a:pt x="786" y="29"/>
                    <a:pt x="654" y="84"/>
                  </a:cubicBezTo>
                  <a:cubicBezTo>
                    <a:pt x="526" y="138"/>
                    <a:pt x="412" y="215"/>
                    <a:pt x="314" y="313"/>
                  </a:cubicBezTo>
                  <a:cubicBezTo>
                    <a:pt x="216" y="411"/>
                    <a:pt x="138" y="525"/>
                    <a:pt x="85" y="652"/>
                  </a:cubicBezTo>
                  <a:cubicBezTo>
                    <a:pt x="29" y="783"/>
                    <a:pt x="0" y="923"/>
                    <a:pt x="0" y="1067"/>
                  </a:cubicBezTo>
                  <a:cubicBezTo>
                    <a:pt x="0" y="1149"/>
                    <a:pt x="10" y="1232"/>
                    <a:pt x="29" y="1311"/>
                  </a:cubicBezTo>
                  <a:cubicBezTo>
                    <a:pt x="56" y="1427"/>
                    <a:pt x="102" y="1538"/>
                    <a:pt x="167" y="1639"/>
                  </a:cubicBezTo>
                  <a:cubicBezTo>
                    <a:pt x="230" y="1738"/>
                    <a:pt x="309" y="1825"/>
                    <a:pt x="401" y="1899"/>
                  </a:cubicBezTo>
                  <a:cubicBezTo>
                    <a:pt x="494" y="1974"/>
                    <a:pt x="598" y="2031"/>
                    <a:pt x="709" y="2071"/>
                  </a:cubicBezTo>
                  <a:cubicBezTo>
                    <a:pt x="825" y="2113"/>
                    <a:pt x="946" y="2134"/>
                    <a:pt x="1070" y="2134"/>
                  </a:cubicBezTo>
                  <a:cubicBezTo>
                    <a:pt x="1214" y="2134"/>
                    <a:pt x="1354" y="2105"/>
                    <a:pt x="1486" y="2050"/>
                  </a:cubicBezTo>
                  <a:cubicBezTo>
                    <a:pt x="1614" y="1996"/>
                    <a:pt x="1728" y="1919"/>
                    <a:pt x="1826" y="1821"/>
                  </a:cubicBezTo>
                  <a:cubicBezTo>
                    <a:pt x="1925" y="1723"/>
                    <a:pt x="2002" y="1609"/>
                    <a:pt x="2056" y="1482"/>
                  </a:cubicBezTo>
                  <a:cubicBezTo>
                    <a:pt x="2111" y="1351"/>
                    <a:pt x="2140" y="1211"/>
                    <a:pt x="2140" y="1067"/>
                  </a:cubicBezTo>
                  <a:cubicBezTo>
                    <a:pt x="2140" y="923"/>
                    <a:pt x="2111" y="783"/>
                    <a:pt x="2056" y="652"/>
                  </a:cubicBezTo>
                  <a:cubicBezTo>
                    <a:pt x="2002" y="525"/>
                    <a:pt x="1925" y="411"/>
                    <a:pt x="1826" y="313"/>
                  </a:cubicBezTo>
                  <a:cubicBezTo>
                    <a:pt x="1728" y="215"/>
                    <a:pt x="1614" y="138"/>
                    <a:pt x="1486" y="84"/>
                  </a:cubicBezTo>
                  <a:cubicBezTo>
                    <a:pt x="1354" y="29"/>
                    <a:pt x="1214" y="0"/>
                    <a:pt x="1070" y="0"/>
                  </a:cubicBezTo>
                  <a:close/>
                </a:path>
              </a:pathLst>
            </a:custGeom>
            <a:solidFill>
              <a:srgbClr val="1A9CBC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7" name="Freeform 176">
              <a:extLst>
                <a:ext uri="{FF2B5EF4-FFF2-40B4-BE49-F238E27FC236}">
                  <a16:creationId xmlns:a16="http://schemas.microsoft.com/office/drawing/2014/main" id="{E186D30D-BC81-418A-B240-5818C5A765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5263" y="1941618"/>
              <a:ext cx="638718" cy="1080760"/>
            </a:xfrm>
            <a:custGeom>
              <a:avLst/>
              <a:gdLst>
                <a:gd name="T0" fmla="*/ 628 w 975"/>
                <a:gd name="T1" fmla="*/ 122 h 1652"/>
                <a:gd name="T2" fmla="*/ 606 w 975"/>
                <a:gd name="T3" fmla="*/ 88 h 1652"/>
                <a:gd name="T4" fmla="*/ 484 w 975"/>
                <a:gd name="T5" fmla="*/ 2 h 1652"/>
                <a:gd name="T6" fmla="*/ 372 w 975"/>
                <a:gd name="T7" fmla="*/ 46 h 1652"/>
                <a:gd name="T8" fmla="*/ 261 w 975"/>
                <a:gd name="T9" fmla="*/ 221 h 1652"/>
                <a:gd name="T10" fmla="*/ 349 w 975"/>
                <a:gd name="T11" fmla="*/ 282 h 1652"/>
                <a:gd name="T12" fmla="*/ 392 w 975"/>
                <a:gd name="T13" fmla="*/ 277 h 1652"/>
                <a:gd name="T14" fmla="*/ 450 w 975"/>
                <a:gd name="T15" fmla="*/ 122 h 1652"/>
                <a:gd name="T16" fmla="*/ 482 w 975"/>
                <a:gd name="T17" fmla="*/ 216 h 1652"/>
                <a:gd name="T18" fmla="*/ 478 w 975"/>
                <a:gd name="T19" fmla="*/ 231 h 1652"/>
                <a:gd name="T20" fmla="*/ 446 w 975"/>
                <a:gd name="T21" fmla="*/ 308 h 1652"/>
                <a:gd name="T22" fmla="*/ 317 w 975"/>
                <a:gd name="T23" fmla="*/ 310 h 1652"/>
                <a:gd name="T24" fmla="*/ 308 w 975"/>
                <a:gd name="T25" fmla="*/ 324 h 1652"/>
                <a:gd name="T26" fmla="*/ 185 w 975"/>
                <a:gd name="T27" fmla="*/ 410 h 1652"/>
                <a:gd name="T28" fmla="*/ 185 w 975"/>
                <a:gd name="T29" fmla="*/ 457 h 1652"/>
                <a:gd name="T30" fmla="*/ 99 w 975"/>
                <a:gd name="T31" fmla="*/ 600 h 1652"/>
                <a:gd name="T32" fmla="*/ 218 w 975"/>
                <a:gd name="T33" fmla="*/ 544 h 1652"/>
                <a:gd name="T34" fmla="*/ 320 w 975"/>
                <a:gd name="T35" fmla="*/ 497 h 1652"/>
                <a:gd name="T36" fmla="*/ 346 w 975"/>
                <a:gd name="T37" fmla="*/ 596 h 1652"/>
                <a:gd name="T38" fmla="*/ 408 w 975"/>
                <a:gd name="T39" fmla="*/ 548 h 1652"/>
                <a:gd name="T40" fmla="*/ 423 w 975"/>
                <a:gd name="T41" fmla="*/ 524 h 1652"/>
                <a:gd name="T42" fmla="*/ 484 w 975"/>
                <a:gd name="T43" fmla="*/ 588 h 1652"/>
                <a:gd name="T44" fmla="*/ 522 w 975"/>
                <a:gd name="T45" fmla="*/ 596 h 1652"/>
                <a:gd name="T46" fmla="*/ 629 w 975"/>
                <a:gd name="T47" fmla="*/ 609 h 1652"/>
                <a:gd name="T48" fmla="*/ 472 w 975"/>
                <a:gd name="T49" fmla="*/ 676 h 1652"/>
                <a:gd name="T50" fmla="*/ 361 w 975"/>
                <a:gd name="T51" fmla="*/ 672 h 1652"/>
                <a:gd name="T52" fmla="*/ 297 w 975"/>
                <a:gd name="T53" fmla="*/ 607 h 1652"/>
                <a:gd name="T54" fmla="*/ 103 w 975"/>
                <a:gd name="T55" fmla="*/ 664 h 1652"/>
                <a:gd name="T56" fmla="*/ 7 w 975"/>
                <a:gd name="T57" fmla="*/ 828 h 1652"/>
                <a:gd name="T58" fmla="*/ 45 w 975"/>
                <a:gd name="T59" fmla="*/ 1020 h 1652"/>
                <a:gd name="T60" fmla="*/ 217 w 975"/>
                <a:gd name="T61" fmla="*/ 1061 h 1652"/>
                <a:gd name="T62" fmla="*/ 331 w 975"/>
                <a:gd name="T63" fmla="*/ 1203 h 1652"/>
                <a:gd name="T64" fmla="*/ 349 w 975"/>
                <a:gd name="T65" fmla="*/ 1422 h 1652"/>
                <a:gd name="T66" fmla="*/ 445 w 975"/>
                <a:gd name="T67" fmla="*/ 1648 h 1652"/>
                <a:gd name="T68" fmla="*/ 594 w 975"/>
                <a:gd name="T69" fmla="*/ 1509 h 1652"/>
                <a:gd name="T70" fmla="*/ 677 w 975"/>
                <a:gd name="T71" fmla="*/ 1362 h 1652"/>
                <a:gd name="T72" fmla="*/ 796 w 975"/>
                <a:gd name="T73" fmla="*/ 1009 h 1652"/>
                <a:gd name="T74" fmla="*/ 705 w 975"/>
                <a:gd name="T75" fmla="*/ 962 h 1652"/>
                <a:gd name="T76" fmla="*/ 591 w 975"/>
                <a:gd name="T77" fmla="*/ 742 h 1652"/>
                <a:gd name="T78" fmla="*/ 665 w 975"/>
                <a:gd name="T79" fmla="*/ 847 h 1652"/>
                <a:gd name="T80" fmla="*/ 851 w 975"/>
                <a:gd name="T81" fmla="*/ 890 h 1652"/>
                <a:gd name="T82" fmla="*/ 844 w 975"/>
                <a:gd name="T83" fmla="*/ 787 h 1652"/>
                <a:gd name="T84" fmla="*/ 796 w 975"/>
                <a:gd name="T85" fmla="*/ 776 h 1652"/>
                <a:gd name="T86" fmla="*/ 800 w 975"/>
                <a:gd name="T87" fmla="*/ 725 h 1652"/>
                <a:gd name="T88" fmla="*/ 975 w 975"/>
                <a:gd name="T89" fmla="*/ 779 h 1652"/>
                <a:gd name="T90" fmla="*/ 568 w 975"/>
                <a:gd name="T91" fmla="*/ 536 h 1652"/>
                <a:gd name="T92" fmla="*/ 593 w 975"/>
                <a:gd name="T93" fmla="*/ 487 h 1652"/>
                <a:gd name="T94" fmla="*/ 632 w 975"/>
                <a:gd name="T95" fmla="*/ 478 h 1652"/>
                <a:gd name="T96" fmla="*/ 819 w 975"/>
                <a:gd name="T97" fmla="*/ 550 h 1652"/>
                <a:gd name="T98" fmla="*/ 773 w 975"/>
                <a:gd name="T99" fmla="*/ 537 h 1652"/>
                <a:gd name="T100" fmla="*/ 791 w 975"/>
                <a:gd name="T101" fmla="*/ 489 h 1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75" h="1652">
                  <a:moveTo>
                    <a:pt x="667" y="121"/>
                  </a:moveTo>
                  <a:cubicBezTo>
                    <a:pt x="667" y="122"/>
                    <a:pt x="667" y="124"/>
                    <a:pt x="667" y="126"/>
                  </a:cubicBezTo>
                  <a:cubicBezTo>
                    <a:pt x="654" y="124"/>
                    <a:pt x="642" y="121"/>
                    <a:pt x="629" y="117"/>
                  </a:cubicBezTo>
                  <a:cubicBezTo>
                    <a:pt x="629" y="118"/>
                    <a:pt x="628" y="120"/>
                    <a:pt x="628" y="122"/>
                  </a:cubicBezTo>
                  <a:cubicBezTo>
                    <a:pt x="634" y="126"/>
                    <a:pt x="638" y="132"/>
                    <a:pt x="644" y="139"/>
                  </a:cubicBezTo>
                  <a:cubicBezTo>
                    <a:pt x="621" y="139"/>
                    <a:pt x="608" y="131"/>
                    <a:pt x="605" y="117"/>
                  </a:cubicBezTo>
                  <a:cubicBezTo>
                    <a:pt x="602" y="106"/>
                    <a:pt x="598" y="97"/>
                    <a:pt x="594" y="86"/>
                  </a:cubicBezTo>
                  <a:cubicBezTo>
                    <a:pt x="596" y="86"/>
                    <a:pt x="601" y="87"/>
                    <a:pt x="606" y="88"/>
                  </a:cubicBezTo>
                  <a:cubicBezTo>
                    <a:pt x="617" y="91"/>
                    <a:pt x="628" y="94"/>
                    <a:pt x="639" y="95"/>
                  </a:cubicBezTo>
                  <a:cubicBezTo>
                    <a:pt x="601" y="60"/>
                    <a:pt x="560" y="29"/>
                    <a:pt x="517" y="0"/>
                  </a:cubicBezTo>
                  <a:cubicBezTo>
                    <a:pt x="513" y="0"/>
                    <a:pt x="509" y="2"/>
                    <a:pt x="505" y="2"/>
                  </a:cubicBezTo>
                  <a:cubicBezTo>
                    <a:pt x="498" y="2"/>
                    <a:pt x="491" y="0"/>
                    <a:pt x="484" y="2"/>
                  </a:cubicBezTo>
                  <a:cubicBezTo>
                    <a:pt x="467" y="7"/>
                    <a:pt x="449" y="17"/>
                    <a:pt x="431" y="18"/>
                  </a:cubicBezTo>
                  <a:cubicBezTo>
                    <a:pt x="414" y="19"/>
                    <a:pt x="402" y="23"/>
                    <a:pt x="398" y="42"/>
                  </a:cubicBezTo>
                  <a:cubicBezTo>
                    <a:pt x="389" y="42"/>
                    <a:pt x="381" y="41"/>
                    <a:pt x="373" y="41"/>
                  </a:cubicBezTo>
                  <a:cubicBezTo>
                    <a:pt x="373" y="42"/>
                    <a:pt x="373" y="44"/>
                    <a:pt x="372" y="46"/>
                  </a:cubicBezTo>
                  <a:cubicBezTo>
                    <a:pt x="376" y="49"/>
                    <a:pt x="381" y="52"/>
                    <a:pt x="384" y="53"/>
                  </a:cubicBezTo>
                  <a:cubicBezTo>
                    <a:pt x="370" y="69"/>
                    <a:pt x="358" y="87"/>
                    <a:pt x="345" y="102"/>
                  </a:cubicBezTo>
                  <a:cubicBezTo>
                    <a:pt x="330" y="118"/>
                    <a:pt x="316" y="136"/>
                    <a:pt x="298" y="147"/>
                  </a:cubicBezTo>
                  <a:cubicBezTo>
                    <a:pt x="256" y="174"/>
                    <a:pt x="254" y="175"/>
                    <a:pt x="261" y="221"/>
                  </a:cubicBezTo>
                  <a:cubicBezTo>
                    <a:pt x="261" y="225"/>
                    <a:pt x="265" y="228"/>
                    <a:pt x="266" y="232"/>
                  </a:cubicBezTo>
                  <a:cubicBezTo>
                    <a:pt x="271" y="253"/>
                    <a:pt x="282" y="258"/>
                    <a:pt x="300" y="246"/>
                  </a:cubicBezTo>
                  <a:cubicBezTo>
                    <a:pt x="308" y="240"/>
                    <a:pt x="316" y="235"/>
                    <a:pt x="324" y="228"/>
                  </a:cubicBezTo>
                  <a:cubicBezTo>
                    <a:pt x="332" y="247"/>
                    <a:pt x="341" y="265"/>
                    <a:pt x="349" y="282"/>
                  </a:cubicBezTo>
                  <a:cubicBezTo>
                    <a:pt x="343" y="286"/>
                    <a:pt x="336" y="292"/>
                    <a:pt x="331" y="297"/>
                  </a:cubicBezTo>
                  <a:cubicBezTo>
                    <a:pt x="334" y="303"/>
                    <a:pt x="335" y="308"/>
                    <a:pt x="338" y="315"/>
                  </a:cubicBezTo>
                  <a:cubicBezTo>
                    <a:pt x="342" y="307"/>
                    <a:pt x="345" y="300"/>
                    <a:pt x="347" y="293"/>
                  </a:cubicBezTo>
                  <a:cubicBezTo>
                    <a:pt x="357" y="299"/>
                    <a:pt x="388" y="288"/>
                    <a:pt x="392" y="277"/>
                  </a:cubicBezTo>
                  <a:cubicBezTo>
                    <a:pt x="400" y="257"/>
                    <a:pt x="408" y="236"/>
                    <a:pt x="418" y="213"/>
                  </a:cubicBezTo>
                  <a:cubicBezTo>
                    <a:pt x="402" y="205"/>
                    <a:pt x="396" y="189"/>
                    <a:pt x="407" y="170"/>
                  </a:cubicBezTo>
                  <a:cubicBezTo>
                    <a:pt x="412" y="160"/>
                    <a:pt x="423" y="156"/>
                    <a:pt x="431" y="148"/>
                  </a:cubicBezTo>
                  <a:cubicBezTo>
                    <a:pt x="438" y="140"/>
                    <a:pt x="446" y="132"/>
                    <a:pt x="450" y="122"/>
                  </a:cubicBezTo>
                  <a:cubicBezTo>
                    <a:pt x="459" y="101"/>
                    <a:pt x="479" y="97"/>
                    <a:pt x="499" y="116"/>
                  </a:cubicBezTo>
                  <a:cubicBezTo>
                    <a:pt x="492" y="122"/>
                    <a:pt x="487" y="129"/>
                    <a:pt x="480" y="135"/>
                  </a:cubicBezTo>
                  <a:cubicBezTo>
                    <a:pt x="463" y="150"/>
                    <a:pt x="445" y="162"/>
                    <a:pt x="452" y="192"/>
                  </a:cubicBezTo>
                  <a:cubicBezTo>
                    <a:pt x="456" y="211"/>
                    <a:pt x="465" y="217"/>
                    <a:pt x="482" y="216"/>
                  </a:cubicBezTo>
                  <a:cubicBezTo>
                    <a:pt x="494" y="215"/>
                    <a:pt x="505" y="209"/>
                    <a:pt x="516" y="208"/>
                  </a:cubicBezTo>
                  <a:cubicBezTo>
                    <a:pt x="525" y="206"/>
                    <a:pt x="534" y="209"/>
                    <a:pt x="544" y="211"/>
                  </a:cubicBezTo>
                  <a:cubicBezTo>
                    <a:pt x="544" y="213"/>
                    <a:pt x="544" y="216"/>
                    <a:pt x="544" y="220"/>
                  </a:cubicBezTo>
                  <a:cubicBezTo>
                    <a:pt x="521" y="224"/>
                    <a:pt x="499" y="227"/>
                    <a:pt x="478" y="231"/>
                  </a:cubicBezTo>
                  <a:cubicBezTo>
                    <a:pt x="482" y="247"/>
                    <a:pt x="484" y="259"/>
                    <a:pt x="487" y="272"/>
                  </a:cubicBezTo>
                  <a:cubicBezTo>
                    <a:pt x="484" y="273"/>
                    <a:pt x="483" y="273"/>
                    <a:pt x="480" y="274"/>
                  </a:cubicBezTo>
                  <a:cubicBezTo>
                    <a:pt x="475" y="270"/>
                    <a:pt x="469" y="265"/>
                    <a:pt x="457" y="255"/>
                  </a:cubicBezTo>
                  <a:cubicBezTo>
                    <a:pt x="453" y="276"/>
                    <a:pt x="450" y="292"/>
                    <a:pt x="446" y="308"/>
                  </a:cubicBezTo>
                  <a:cubicBezTo>
                    <a:pt x="437" y="311"/>
                    <a:pt x="427" y="329"/>
                    <a:pt x="412" y="312"/>
                  </a:cubicBezTo>
                  <a:cubicBezTo>
                    <a:pt x="411" y="311"/>
                    <a:pt x="407" y="312"/>
                    <a:pt x="406" y="314"/>
                  </a:cubicBezTo>
                  <a:cubicBezTo>
                    <a:pt x="385" y="333"/>
                    <a:pt x="360" y="320"/>
                    <a:pt x="338" y="324"/>
                  </a:cubicBezTo>
                  <a:cubicBezTo>
                    <a:pt x="332" y="326"/>
                    <a:pt x="324" y="315"/>
                    <a:pt x="317" y="310"/>
                  </a:cubicBezTo>
                  <a:cubicBezTo>
                    <a:pt x="317" y="310"/>
                    <a:pt x="317" y="307"/>
                    <a:pt x="319" y="305"/>
                  </a:cubicBezTo>
                  <a:cubicBezTo>
                    <a:pt x="322" y="307"/>
                    <a:pt x="324" y="307"/>
                    <a:pt x="327" y="308"/>
                  </a:cubicBezTo>
                  <a:cubicBezTo>
                    <a:pt x="326" y="293"/>
                    <a:pt x="326" y="278"/>
                    <a:pt x="324" y="265"/>
                  </a:cubicBezTo>
                  <a:cubicBezTo>
                    <a:pt x="278" y="276"/>
                    <a:pt x="312" y="308"/>
                    <a:pt x="308" y="324"/>
                  </a:cubicBezTo>
                  <a:cubicBezTo>
                    <a:pt x="289" y="335"/>
                    <a:pt x="271" y="343"/>
                    <a:pt x="258" y="354"/>
                  </a:cubicBezTo>
                  <a:cubicBezTo>
                    <a:pt x="240" y="368"/>
                    <a:pt x="225" y="386"/>
                    <a:pt x="209" y="400"/>
                  </a:cubicBezTo>
                  <a:cubicBezTo>
                    <a:pt x="205" y="404"/>
                    <a:pt x="197" y="404"/>
                    <a:pt x="191" y="406"/>
                  </a:cubicBezTo>
                  <a:cubicBezTo>
                    <a:pt x="189" y="407"/>
                    <a:pt x="187" y="409"/>
                    <a:pt x="185" y="410"/>
                  </a:cubicBezTo>
                  <a:cubicBezTo>
                    <a:pt x="181" y="413"/>
                    <a:pt x="175" y="417"/>
                    <a:pt x="171" y="418"/>
                  </a:cubicBezTo>
                  <a:cubicBezTo>
                    <a:pt x="164" y="419"/>
                    <a:pt x="157" y="419"/>
                    <a:pt x="145" y="419"/>
                  </a:cubicBezTo>
                  <a:cubicBezTo>
                    <a:pt x="152" y="426"/>
                    <a:pt x="153" y="429"/>
                    <a:pt x="156" y="432"/>
                  </a:cubicBezTo>
                  <a:cubicBezTo>
                    <a:pt x="166" y="440"/>
                    <a:pt x="181" y="447"/>
                    <a:pt x="185" y="457"/>
                  </a:cubicBezTo>
                  <a:cubicBezTo>
                    <a:pt x="190" y="470"/>
                    <a:pt x="187" y="486"/>
                    <a:pt x="186" y="499"/>
                  </a:cubicBezTo>
                  <a:cubicBezTo>
                    <a:pt x="186" y="502"/>
                    <a:pt x="170" y="504"/>
                    <a:pt x="160" y="505"/>
                  </a:cubicBezTo>
                  <a:cubicBezTo>
                    <a:pt x="140" y="506"/>
                    <a:pt x="118" y="505"/>
                    <a:pt x="99" y="505"/>
                  </a:cubicBezTo>
                  <a:cubicBezTo>
                    <a:pt x="99" y="543"/>
                    <a:pt x="99" y="574"/>
                    <a:pt x="99" y="600"/>
                  </a:cubicBezTo>
                  <a:cubicBezTo>
                    <a:pt x="117" y="608"/>
                    <a:pt x="128" y="613"/>
                    <a:pt x="140" y="620"/>
                  </a:cubicBezTo>
                  <a:cubicBezTo>
                    <a:pt x="144" y="619"/>
                    <a:pt x="152" y="615"/>
                    <a:pt x="160" y="613"/>
                  </a:cubicBezTo>
                  <a:cubicBezTo>
                    <a:pt x="189" y="609"/>
                    <a:pt x="197" y="600"/>
                    <a:pt x="201" y="571"/>
                  </a:cubicBezTo>
                  <a:cubicBezTo>
                    <a:pt x="202" y="562"/>
                    <a:pt x="210" y="550"/>
                    <a:pt x="218" y="544"/>
                  </a:cubicBezTo>
                  <a:cubicBezTo>
                    <a:pt x="231" y="536"/>
                    <a:pt x="244" y="533"/>
                    <a:pt x="240" y="514"/>
                  </a:cubicBezTo>
                  <a:cubicBezTo>
                    <a:pt x="240" y="513"/>
                    <a:pt x="252" y="505"/>
                    <a:pt x="256" y="506"/>
                  </a:cubicBezTo>
                  <a:cubicBezTo>
                    <a:pt x="275" y="516"/>
                    <a:pt x="286" y="504"/>
                    <a:pt x="301" y="495"/>
                  </a:cubicBezTo>
                  <a:cubicBezTo>
                    <a:pt x="305" y="493"/>
                    <a:pt x="316" y="493"/>
                    <a:pt x="320" y="497"/>
                  </a:cubicBezTo>
                  <a:cubicBezTo>
                    <a:pt x="341" y="514"/>
                    <a:pt x="360" y="533"/>
                    <a:pt x="377" y="554"/>
                  </a:cubicBezTo>
                  <a:cubicBezTo>
                    <a:pt x="384" y="560"/>
                    <a:pt x="387" y="571"/>
                    <a:pt x="392" y="581"/>
                  </a:cubicBezTo>
                  <a:cubicBezTo>
                    <a:pt x="381" y="585"/>
                    <a:pt x="372" y="589"/>
                    <a:pt x="361" y="593"/>
                  </a:cubicBezTo>
                  <a:cubicBezTo>
                    <a:pt x="358" y="594"/>
                    <a:pt x="354" y="594"/>
                    <a:pt x="346" y="596"/>
                  </a:cubicBezTo>
                  <a:cubicBezTo>
                    <a:pt x="360" y="604"/>
                    <a:pt x="369" y="608"/>
                    <a:pt x="379" y="613"/>
                  </a:cubicBezTo>
                  <a:cubicBezTo>
                    <a:pt x="388" y="594"/>
                    <a:pt x="396" y="577"/>
                    <a:pt x="406" y="556"/>
                  </a:cubicBezTo>
                  <a:cubicBezTo>
                    <a:pt x="406" y="556"/>
                    <a:pt x="412" y="558"/>
                    <a:pt x="422" y="559"/>
                  </a:cubicBezTo>
                  <a:cubicBezTo>
                    <a:pt x="415" y="554"/>
                    <a:pt x="412" y="551"/>
                    <a:pt x="408" y="548"/>
                  </a:cubicBezTo>
                  <a:cubicBezTo>
                    <a:pt x="389" y="531"/>
                    <a:pt x="369" y="514"/>
                    <a:pt x="351" y="495"/>
                  </a:cubicBezTo>
                  <a:cubicBezTo>
                    <a:pt x="347" y="491"/>
                    <a:pt x="345" y="478"/>
                    <a:pt x="349" y="472"/>
                  </a:cubicBezTo>
                  <a:cubicBezTo>
                    <a:pt x="355" y="463"/>
                    <a:pt x="358" y="474"/>
                    <a:pt x="365" y="478"/>
                  </a:cubicBezTo>
                  <a:cubicBezTo>
                    <a:pt x="384" y="494"/>
                    <a:pt x="404" y="508"/>
                    <a:pt x="423" y="524"/>
                  </a:cubicBezTo>
                  <a:cubicBezTo>
                    <a:pt x="427" y="527"/>
                    <a:pt x="429" y="531"/>
                    <a:pt x="431" y="535"/>
                  </a:cubicBezTo>
                  <a:cubicBezTo>
                    <a:pt x="441" y="558"/>
                    <a:pt x="449" y="582"/>
                    <a:pt x="459" y="605"/>
                  </a:cubicBezTo>
                  <a:cubicBezTo>
                    <a:pt x="460" y="608"/>
                    <a:pt x="465" y="609"/>
                    <a:pt x="468" y="611"/>
                  </a:cubicBezTo>
                  <a:cubicBezTo>
                    <a:pt x="475" y="601"/>
                    <a:pt x="480" y="594"/>
                    <a:pt x="484" y="588"/>
                  </a:cubicBezTo>
                  <a:cubicBezTo>
                    <a:pt x="479" y="578"/>
                    <a:pt x="473" y="567"/>
                    <a:pt x="467" y="556"/>
                  </a:cubicBezTo>
                  <a:cubicBezTo>
                    <a:pt x="473" y="555"/>
                    <a:pt x="478" y="556"/>
                    <a:pt x="480" y="554"/>
                  </a:cubicBezTo>
                  <a:cubicBezTo>
                    <a:pt x="497" y="543"/>
                    <a:pt x="509" y="535"/>
                    <a:pt x="510" y="565"/>
                  </a:cubicBezTo>
                  <a:cubicBezTo>
                    <a:pt x="510" y="575"/>
                    <a:pt x="514" y="589"/>
                    <a:pt x="522" y="596"/>
                  </a:cubicBezTo>
                  <a:cubicBezTo>
                    <a:pt x="532" y="605"/>
                    <a:pt x="545" y="611"/>
                    <a:pt x="559" y="616"/>
                  </a:cubicBezTo>
                  <a:cubicBezTo>
                    <a:pt x="566" y="619"/>
                    <a:pt x="572" y="617"/>
                    <a:pt x="581" y="617"/>
                  </a:cubicBezTo>
                  <a:cubicBezTo>
                    <a:pt x="587" y="617"/>
                    <a:pt x="594" y="619"/>
                    <a:pt x="600" y="619"/>
                  </a:cubicBezTo>
                  <a:cubicBezTo>
                    <a:pt x="608" y="617"/>
                    <a:pt x="616" y="613"/>
                    <a:pt x="629" y="609"/>
                  </a:cubicBezTo>
                  <a:cubicBezTo>
                    <a:pt x="621" y="638"/>
                    <a:pt x="617" y="661"/>
                    <a:pt x="610" y="683"/>
                  </a:cubicBezTo>
                  <a:cubicBezTo>
                    <a:pt x="609" y="689"/>
                    <a:pt x="601" y="696"/>
                    <a:pt x="596" y="697"/>
                  </a:cubicBezTo>
                  <a:cubicBezTo>
                    <a:pt x="578" y="700"/>
                    <a:pt x="558" y="704"/>
                    <a:pt x="540" y="700"/>
                  </a:cubicBezTo>
                  <a:cubicBezTo>
                    <a:pt x="517" y="696"/>
                    <a:pt x="494" y="687"/>
                    <a:pt x="472" y="676"/>
                  </a:cubicBezTo>
                  <a:cubicBezTo>
                    <a:pt x="454" y="668"/>
                    <a:pt x="441" y="674"/>
                    <a:pt x="437" y="693"/>
                  </a:cubicBezTo>
                  <a:cubicBezTo>
                    <a:pt x="435" y="699"/>
                    <a:pt x="425" y="710"/>
                    <a:pt x="423" y="708"/>
                  </a:cubicBezTo>
                  <a:cubicBezTo>
                    <a:pt x="408" y="700"/>
                    <a:pt x="395" y="689"/>
                    <a:pt x="380" y="681"/>
                  </a:cubicBezTo>
                  <a:cubicBezTo>
                    <a:pt x="374" y="677"/>
                    <a:pt x="368" y="674"/>
                    <a:pt x="361" y="672"/>
                  </a:cubicBezTo>
                  <a:cubicBezTo>
                    <a:pt x="347" y="666"/>
                    <a:pt x="332" y="662"/>
                    <a:pt x="319" y="657"/>
                  </a:cubicBezTo>
                  <a:cubicBezTo>
                    <a:pt x="322" y="655"/>
                    <a:pt x="323" y="654"/>
                    <a:pt x="326" y="651"/>
                  </a:cubicBezTo>
                  <a:cubicBezTo>
                    <a:pt x="326" y="638"/>
                    <a:pt x="328" y="623"/>
                    <a:pt x="326" y="609"/>
                  </a:cubicBezTo>
                  <a:cubicBezTo>
                    <a:pt x="326" y="607"/>
                    <a:pt x="308" y="608"/>
                    <a:pt x="297" y="607"/>
                  </a:cubicBezTo>
                  <a:cubicBezTo>
                    <a:pt x="294" y="607"/>
                    <a:pt x="290" y="605"/>
                    <a:pt x="288" y="605"/>
                  </a:cubicBezTo>
                  <a:cubicBezTo>
                    <a:pt x="256" y="612"/>
                    <a:pt x="223" y="613"/>
                    <a:pt x="194" y="626"/>
                  </a:cubicBezTo>
                  <a:cubicBezTo>
                    <a:pt x="171" y="635"/>
                    <a:pt x="153" y="634"/>
                    <a:pt x="138" y="627"/>
                  </a:cubicBezTo>
                  <a:cubicBezTo>
                    <a:pt x="125" y="640"/>
                    <a:pt x="113" y="651"/>
                    <a:pt x="103" y="664"/>
                  </a:cubicBezTo>
                  <a:cubicBezTo>
                    <a:pt x="96" y="673"/>
                    <a:pt x="88" y="685"/>
                    <a:pt x="88" y="696"/>
                  </a:cubicBezTo>
                  <a:cubicBezTo>
                    <a:pt x="90" y="719"/>
                    <a:pt x="76" y="730"/>
                    <a:pt x="60" y="741"/>
                  </a:cubicBezTo>
                  <a:cubicBezTo>
                    <a:pt x="54" y="744"/>
                    <a:pt x="49" y="748"/>
                    <a:pt x="46" y="753"/>
                  </a:cubicBezTo>
                  <a:cubicBezTo>
                    <a:pt x="33" y="777"/>
                    <a:pt x="20" y="802"/>
                    <a:pt x="7" y="828"/>
                  </a:cubicBezTo>
                  <a:cubicBezTo>
                    <a:pt x="4" y="833"/>
                    <a:pt x="3" y="840"/>
                    <a:pt x="3" y="845"/>
                  </a:cubicBezTo>
                  <a:cubicBezTo>
                    <a:pt x="4" y="868"/>
                    <a:pt x="10" y="893"/>
                    <a:pt x="6" y="914"/>
                  </a:cubicBezTo>
                  <a:cubicBezTo>
                    <a:pt x="0" y="944"/>
                    <a:pt x="1" y="969"/>
                    <a:pt x="25" y="992"/>
                  </a:cubicBezTo>
                  <a:cubicBezTo>
                    <a:pt x="33" y="1000"/>
                    <a:pt x="38" y="1011"/>
                    <a:pt x="45" y="1020"/>
                  </a:cubicBezTo>
                  <a:cubicBezTo>
                    <a:pt x="57" y="1035"/>
                    <a:pt x="72" y="1050"/>
                    <a:pt x="83" y="1065"/>
                  </a:cubicBezTo>
                  <a:cubicBezTo>
                    <a:pt x="99" y="1087"/>
                    <a:pt x="117" y="1085"/>
                    <a:pt x="138" y="1075"/>
                  </a:cubicBezTo>
                  <a:cubicBezTo>
                    <a:pt x="141" y="1073"/>
                    <a:pt x="147" y="1072"/>
                    <a:pt x="151" y="1073"/>
                  </a:cubicBezTo>
                  <a:cubicBezTo>
                    <a:pt x="175" y="1081"/>
                    <a:pt x="195" y="1070"/>
                    <a:pt x="217" y="1061"/>
                  </a:cubicBezTo>
                  <a:cubicBezTo>
                    <a:pt x="236" y="1053"/>
                    <a:pt x="258" y="1049"/>
                    <a:pt x="266" y="1079"/>
                  </a:cubicBezTo>
                  <a:cubicBezTo>
                    <a:pt x="267" y="1081"/>
                    <a:pt x="274" y="1085"/>
                    <a:pt x="278" y="1085"/>
                  </a:cubicBezTo>
                  <a:cubicBezTo>
                    <a:pt x="313" y="1085"/>
                    <a:pt x="320" y="1091"/>
                    <a:pt x="312" y="1125"/>
                  </a:cubicBezTo>
                  <a:cubicBezTo>
                    <a:pt x="304" y="1156"/>
                    <a:pt x="308" y="1180"/>
                    <a:pt x="331" y="1203"/>
                  </a:cubicBezTo>
                  <a:cubicBezTo>
                    <a:pt x="338" y="1210"/>
                    <a:pt x="341" y="1220"/>
                    <a:pt x="343" y="1228"/>
                  </a:cubicBezTo>
                  <a:cubicBezTo>
                    <a:pt x="350" y="1252"/>
                    <a:pt x="357" y="1275"/>
                    <a:pt x="361" y="1300"/>
                  </a:cubicBezTo>
                  <a:cubicBezTo>
                    <a:pt x="362" y="1308"/>
                    <a:pt x="358" y="1317"/>
                    <a:pt x="355" y="1325"/>
                  </a:cubicBezTo>
                  <a:cubicBezTo>
                    <a:pt x="342" y="1357"/>
                    <a:pt x="330" y="1386"/>
                    <a:pt x="349" y="1422"/>
                  </a:cubicBezTo>
                  <a:cubicBezTo>
                    <a:pt x="361" y="1443"/>
                    <a:pt x="364" y="1471"/>
                    <a:pt x="372" y="1495"/>
                  </a:cubicBezTo>
                  <a:cubicBezTo>
                    <a:pt x="380" y="1518"/>
                    <a:pt x="389" y="1541"/>
                    <a:pt x="396" y="1564"/>
                  </a:cubicBezTo>
                  <a:cubicBezTo>
                    <a:pt x="403" y="1584"/>
                    <a:pt x="408" y="1605"/>
                    <a:pt x="412" y="1627"/>
                  </a:cubicBezTo>
                  <a:cubicBezTo>
                    <a:pt x="415" y="1644"/>
                    <a:pt x="427" y="1652"/>
                    <a:pt x="445" y="1648"/>
                  </a:cubicBezTo>
                  <a:cubicBezTo>
                    <a:pt x="457" y="1645"/>
                    <a:pt x="469" y="1645"/>
                    <a:pt x="482" y="1641"/>
                  </a:cubicBezTo>
                  <a:cubicBezTo>
                    <a:pt x="499" y="1636"/>
                    <a:pt x="522" y="1633"/>
                    <a:pt x="533" y="1620"/>
                  </a:cubicBezTo>
                  <a:cubicBezTo>
                    <a:pt x="559" y="1591"/>
                    <a:pt x="589" y="1564"/>
                    <a:pt x="586" y="1519"/>
                  </a:cubicBezTo>
                  <a:cubicBezTo>
                    <a:pt x="586" y="1517"/>
                    <a:pt x="590" y="1510"/>
                    <a:pt x="594" y="1509"/>
                  </a:cubicBezTo>
                  <a:cubicBezTo>
                    <a:pt x="627" y="1498"/>
                    <a:pt x="620" y="1475"/>
                    <a:pt x="615" y="1450"/>
                  </a:cubicBezTo>
                  <a:cubicBezTo>
                    <a:pt x="613" y="1442"/>
                    <a:pt x="612" y="1430"/>
                    <a:pt x="616" y="1424"/>
                  </a:cubicBezTo>
                  <a:cubicBezTo>
                    <a:pt x="628" y="1411"/>
                    <a:pt x="643" y="1400"/>
                    <a:pt x="657" y="1386"/>
                  </a:cubicBezTo>
                  <a:cubicBezTo>
                    <a:pt x="665" y="1380"/>
                    <a:pt x="677" y="1370"/>
                    <a:pt x="677" y="1362"/>
                  </a:cubicBezTo>
                  <a:cubicBezTo>
                    <a:pt x="677" y="1338"/>
                    <a:pt x="674" y="1312"/>
                    <a:pt x="670" y="1286"/>
                  </a:cubicBezTo>
                  <a:cubicBezTo>
                    <a:pt x="667" y="1262"/>
                    <a:pt x="655" y="1235"/>
                    <a:pt x="662" y="1216"/>
                  </a:cubicBezTo>
                  <a:cubicBezTo>
                    <a:pt x="676" y="1182"/>
                    <a:pt x="697" y="1148"/>
                    <a:pt x="724" y="1123"/>
                  </a:cubicBezTo>
                  <a:cubicBezTo>
                    <a:pt x="761" y="1092"/>
                    <a:pt x="777" y="1050"/>
                    <a:pt x="796" y="1009"/>
                  </a:cubicBezTo>
                  <a:cubicBezTo>
                    <a:pt x="800" y="1000"/>
                    <a:pt x="799" y="988"/>
                    <a:pt x="802" y="977"/>
                  </a:cubicBezTo>
                  <a:cubicBezTo>
                    <a:pt x="787" y="980"/>
                    <a:pt x="775" y="982"/>
                    <a:pt x="762" y="985"/>
                  </a:cubicBezTo>
                  <a:cubicBezTo>
                    <a:pt x="750" y="988"/>
                    <a:pt x="735" y="997"/>
                    <a:pt x="724" y="993"/>
                  </a:cubicBezTo>
                  <a:cubicBezTo>
                    <a:pt x="715" y="990"/>
                    <a:pt x="714" y="971"/>
                    <a:pt x="705" y="962"/>
                  </a:cubicBezTo>
                  <a:cubicBezTo>
                    <a:pt x="686" y="938"/>
                    <a:pt x="658" y="919"/>
                    <a:pt x="651" y="885"/>
                  </a:cubicBezTo>
                  <a:cubicBezTo>
                    <a:pt x="648" y="871"/>
                    <a:pt x="642" y="859"/>
                    <a:pt x="636" y="847"/>
                  </a:cubicBezTo>
                  <a:cubicBezTo>
                    <a:pt x="634" y="840"/>
                    <a:pt x="634" y="833"/>
                    <a:pt x="631" y="826"/>
                  </a:cubicBezTo>
                  <a:cubicBezTo>
                    <a:pt x="619" y="798"/>
                    <a:pt x="605" y="771"/>
                    <a:pt x="591" y="742"/>
                  </a:cubicBezTo>
                  <a:cubicBezTo>
                    <a:pt x="594" y="739"/>
                    <a:pt x="596" y="738"/>
                    <a:pt x="598" y="735"/>
                  </a:cubicBezTo>
                  <a:cubicBezTo>
                    <a:pt x="606" y="741"/>
                    <a:pt x="617" y="744"/>
                    <a:pt x="620" y="750"/>
                  </a:cubicBezTo>
                  <a:cubicBezTo>
                    <a:pt x="634" y="780"/>
                    <a:pt x="661" y="803"/>
                    <a:pt x="661" y="839"/>
                  </a:cubicBezTo>
                  <a:cubicBezTo>
                    <a:pt x="661" y="841"/>
                    <a:pt x="662" y="845"/>
                    <a:pt x="665" y="847"/>
                  </a:cubicBezTo>
                  <a:cubicBezTo>
                    <a:pt x="692" y="874"/>
                    <a:pt x="703" y="908"/>
                    <a:pt x="708" y="946"/>
                  </a:cubicBezTo>
                  <a:cubicBezTo>
                    <a:pt x="709" y="951"/>
                    <a:pt x="712" y="957"/>
                    <a:pt x="714" y="965"/>
                  </a:cubicBezTo>
                  <a:cubicBezTo>
                    <a:pt x="726" y="959"/>
                    <a:pt x="738" y="957"/>
                    <a:pt x="747" y="951"/>
                  </a:cubicBezTo>
                  <a:cubicBezTo>
                    <a:pt x="783" y="931"/>
                    <a:pt x="818" y="913"/>
                    <a:pt x="851" y="890"/>
                  </a:cubicBezTo>
                  <a:cubicBezTo>
                    <a:pt x="868" y="878"/>
                    <a:pt x="879" y="856"/>
                    <a:pt x="894" y="840"/>
                  </a:cubicBezTo>
                  <a:cubicBezTo>
                    <a:pt x="907" y="824"/>
                    <a:pt x="898" y="815"/>
                    <a:pt x="887" y="805"/>
                  </a:cubicBezTo>
                  <a:cubicBezTo>
                    <a:pt x="878" y="795"/>
                    <a:pt x="867" y="786"/>
                    <a:pt x="856" y="775"/>
                  </a:cubicBezTo>
                  <a:cubicBezTo>
                    <a:pt x="855" y="776"/>
                    <a:pt x="851" y="784"/>
                    <a:pt x="844" y="787"/>
                  </a:cubicBezTo>
                  <a:cubicBezTo>
                    <a:pt x="834" y="792"/>
                    <a:pt x="823" y="794"/>
                    <a:pt x="813" y="796"/>
                  </a:cubicBezTo>
                  <a:cubicBezTo>
                    <a:pt x="811" y="788"/>
                    <a:pt x="810" y="782"/>
                    <a:pt x="807" y="773"/>
                  </a:cubicBezTo>
                  <a:cubicBezTo>
                    <a:pt x="807" y="772"/>
                    <a:pt x="806" y="771"/>
                    <a:pt x="804" y="768"/>
                  </a:cubicBezTo>
                  <a:cubicBezTo>
                    <a:pt x="802" y="771"/>
                    <a:pt x="799" y="773"/>
                    <a:pt x="796" y="776"/>
                  </a:cubicBezTo>
                  <a:cubicBezTo>
                    <a:pt x="787" y="758"/>
                    <a:pt x="777" y="742"/>
                    <a:pt x="770" y="725"/>
                  </a:cubicBezTo>
                  <a:cubicBezTo>
                    <a:pt x="769" y="721"/>
                    <a:pt x="772" y="710"/>
                    <a:pt x="775" y="708"/>
                  </a:cubicBezTo>
                  <a:cubicBezTo>
                    <a:pt x="780" y="706"/>
                    <a:pt x="788" y="708"/>
                    <a:pt x="792" y="711"/>
                  </a:cubicBezTo>
                  <a:cubicBezTo>
                    <a:pt x="796" y="714"/>
                    <a:pt x="798" y="721"/>
                    <a:pt x="800" y="725"/>
                  </a:cubicBezTo>
                  <a:cubicBezTo>
                    <a:pt x="814" y="753"/>
                    <a:pt x="840" y="763"/>
                    <a:pt x="859" y="754"/>
                  </a:cubicBezTo>
                  <a:cubicBezTo>
                    <a:pt x="878" y="764"/>
                    <a:pt x="890" y="772"/>
                    <a:pt x="903" y="776"/>
                  </a:cubicBezTo>
                  <a:cubicBezTo>
                    <a:pt x="918" y="780"/>
                    <a:pt x="935" y="779"/>
                    <a:pt x="950" y="777"/>
                  </a:cubicBezTo>
                  <a:cubicBezTo>
                    <a:pt x="959" y="777"/>
                    <a:pt x="967" y="776"/>
                    <a:pt x="975" y="779"/>
                  </a:cubicBezTo>
                  <a:cubicBezTo>
                    <a:pt x="955" y="527"/>
                    <a:pt x="842" y="293"/>
                    <a:pt x="667" y="121"/>
                  </a:cubicBezTo>
                  <a:close/>
                  <a:moveTo>
                    <a:pt x="665" y="544"/>
                  </a:moveTo>
                  <a:cubicBezTo>
                    <a:pt x="650" y="544"/>
                    <a:pt x="634" y="541"/>
                    <a:pt x="620" y="535"/>
                  </a:cubicBezTo>
                  <a:cubicBezTo>
                    <a:pt x="602" y="527"/>
                    <a:pt x="587" y="528"/>
                    <a:pt x="568" y="536"/>
                  </a:cubicBezTo>
                  <a:cubicBezTo>
                    <a:pt x="558" y="541"/>
                    <a:pt x="540" y="540"/>
                    <a:pt x="530" y="535"/>
                  </a:cubicBezTo>
                  <a:cubicBezTo>
                    <a:pt x="518" y="528"/>
                    <a:pt x="522" y="514"/>
                    <a:pt x="530" y="502"/>
                  </a:cubicBezTo>
                  <a:cubicBezTo>
                    <a:pt x="541" y="486"/>
                    <a:pt x="551" y="467"/>
                    <a:pt x="559" y="451"/>
                  </a:cubicBezTo>
                  <a:cubicBezTo>
                    <a:pt x="586" y="453"/>
                    <a:pt x="586" y="474"/>
                    <a:pt x="593" y="487"/>
                  </a:cubicBezTo>
                  <a:cubicBezTo>
                    <a:pt x="604" y="483"/>
                    <a:pt x="612" y="479"/>
                    <a:pt x="621" y="475"/>
                  </a:cubicBezTo>
                  <a:cubicBezTo>
                    <a:pt x="616" y="472"/>
                    <a:pt x="609" y="468"/>
                    <a:pt x="596" y="461"/>
                  </a:cubicBezTo>
                  <a:cubicBezTo>
                    <a:pt x="617" y="453"/>
                    <a:pt x="634" y="447"/>
                    <a:pt x="652" y="440"/>
                  </a:cubicBezTo>
                  <a:cubicBezTo>
                    <a:pt x="644" y="455"/>
                    <a:pt x="638" y="467"/>
                    <a:pt x="632" y="478"/>
                  </a:cubicBezTo>
                  <a:cubicBezTo>
                    <a:pt x="646" y="489"/>
                    <a:pt x="661" y="498"/>
                    <a:pt x="674" y="510"/>
                  </a:cubicBezTo>
                  <a:cubicBezTo>
                    <a:pt x="680" y="516"/>
                    <a:pt x="686" y="525"/>
                    <a:pt x="684" y="531"/>
                  </a:cubicBezTo>
                  <a:cubicBezTo>
                    <a:pt x="684" y="537"/>
                    <a:pt x="671" y="544"/>
                    <a:pt x="665" y="544"/>
                  </a:cubicBezTo>
                  <a:close/>
                  <a:moveTo>
                    <a:pt x="819" y="550"/>
                  </a:moveTo>
                  <a:cubicBezTo>
                    <a:pt x="823" y="569"/>
                    <a:pt x="829" y="588"/>
                    <a:pt x="836" y="613"/>
                  </a:cubicBezTo>
                  <a:cubicBezTo>
                    <a:pt x="817" y="611"/>
                    <a:pt x="803" y="609"/>
                    <a:pt x="789" y="605"/>
                  </a:cubicBezTo>
                  <a:cubicBezTo>
                    <a:pt x="769" y="598"/>
                    <a:pt x="766" y="584"/>
                    <a:pt x="777" y="566"/>
                  </a:cubicBezTo>
                  <a:cubicBezTo>
                    <a:pt x="784" y="554"/>
                    <a:pt x="779" y="547"/>
                    <a:pt x="773" y="537"/>
                  </a:cubicBezTo>
                  <a:cubicBezTo>
                    <a:pt x="765" y="522"/>
                    <a:pt x="757" y="506"/>
                    <a:pt x="750" y="490"/>
                  </a:cubicBezTo>
                  <a:cubicBezTo>
                    <a:pt x="749" y="485"/>
                    <a:pt x="751" y="475"/>
                    <a:pt x="756" y="472"/>
                  </a:cubicBezTo>
                  <a:cubicBezTo>
                    <a:pt x="775" y="459"/>
                    <a:pt x="791" y="437"/>
                    <a:pt x="829" y="452"/>
                  </a:cubicBezTo>
                  <a:cubicBezTo>
                    <a:pt x="814" y="466"/>
                    <a:pt x="803" y="476"/>
                    <a:pt x="791" y="489"/>
                  </a:cubicBezTo>
                  <a:cubicBezTo>
                    <a:pt x="799" y="501"/>
                    <a:pt x="808" y="514"/>
                    <a:pt x="815" y="524"/>
                  </a:cubicBezTo>
                  <a:cubicBezTo>
                    <a:pt x="826" y="531"/>
                    <a:pt x="833" y="536"/>
                    <a:pt x="846" y="544"/>
                  </a:cubicBezTo>
                  <a:cubicBezTo>
                    <a:pt x="832" y="547"/>
                    <a:pt x="825" y="548"/>
                    <a:pt x="819" y="55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8" name="Rectangle 177">
              <a:extLst>
                <a:ext uri="{FF2B5EF4-FFF2-40B4-BE49-F238E27FC236}">
                  <a16:creationId xmlns:a16="http://schemas.microsoft.com/office/drawing/2014/main" id="{3DE587F7-39D5-486F-A082-A9707BA216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6883" y="2185075"/>
              <a:ext cx="478" cy="47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9" name="Freeform 178">
              <a:extLst>
                <a:ext uri="{FF2B5EF4-FFF2-40B4-BE49-F238E27FC236}">
                  <a16:creationId xmlns:a16="http://schemas.microsoft.com/office/drawing/2014/main" id="{7BD902EC-C659-457D-822D-782E1F952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9262" y="2048548"/>
              <a:ext cx="557565" cy="1033501"/>
            </a:xfrm>
            <a:custGeom>
              <a:avLst/>
              <a:gdLst>
                <a:gd name="T0" fmla="*/ 811 w 852"/>
                <a:gd name="T1" fmla="*/ 1040 h 1580"/>
                <a:gd name="T2" fmla="*/ 691 w 852"/>
                <a:gd name="T3" fmla="*/ 990 h 1580"/>
                <a:gd name="T4" fmla="*/ 610 w 852"/>
                <a:gd name="T5" fmla="*/ 902 h 1580"/>
                <a:gd name="T6" fmla="*/ 530 w 852"/>
                <a:gd name="T7" fmla="*/ 845 h 1580"/>
                <a:gd name="T8" fmla="*/ 453 w 852"/>
                <a:gd name="T9" fmla="*/ 826 h 1580"/>
                <a:gd name="T10" fmla="*/ 424 w 852"/>
                <a:gd name="T11" fmla="*/ 814 h 1580"/>
                <a:gd name="T12" fmla="*/ 355 w 852"/>
                <a:gd name="T13" fmla="*/ 865 h 1580"/>
                <a:gd name="T14" fmla="*/ 294 w 852"/>
                <a:gd name="T15" fmla="*/ 855 h 1580"/>
                <a:gd name="T16" fmla="*/ 253 w 852"/>
                <a:gd name="T17" fmla="*/ 761 h 1580"/>
                <a:gd name="T18" fmla="*/ 241 w 852"/>
                <a:gd name="T19" fmla="*/ 684 h 1580"/>
                <a:gd name="T20" fmla="*/ 163 w 852"/>
                <a:gd name="T21" fmla="*/ 726 h 1580"/>
                <a:gd name="T22" fmla="*/ 115 w 852"/>
                <a:gd name="T23" fmla="*/ 654 h 1580"/>
                <a:gd name="T24" fmla="*/ 191 w 852"/>
                <a:gd name="T25" fmla="*/ 563 h 1580"/>
                <a:gd name="T26" fmla="*/ 229 w 852"/>
                <a:gd name="T27" fmla="*/ 549 h 1580"/>
                <a:gd name="T28" fmla="*/ 291 w 852"/>
                <a:gd name="T29" fmla="*/ 581 h 1580"/>
                <a:gd name="T30" fmla="*/ 321 w 852"/>
                <a:gd name="T31" fmla="*/ 623 h 1580"/>
                <a:gd name="T32" fmla="*/ 335 w 852"/>
                <a:gd name="T33" fmla="*/ 499 h 1580"/>
                <a:gd name="T34" fmla="*/ 370 w 852"/>
                <a:gd name="T35" fmla="*/ 460 h 1580"/>
                <a:gd name="T36" fmla="*/ 432 w 852"/>
                <a:gd name="T37" fmla="*/ 372 h 1580"/>
                <a:gd name="T38" fmla="*/ 487 w 852"/>
                <a:gd name="T39" fmla="*/ 336 h 1580"/>
                <a:gd name="T40" fmla="*/ 557 w 852"/>
                <a:gd name="T41" fmla="*/ 301 h 1580"/>
                <a:gd name="T42" fmla="*/ 522 w 852"/>
                <a:gd name="T43" fmla="*/ 301 h 1580"/>
                <a:gd name="T44" fmla="*/ 491 w 852"/>
                <a:gd name="T45" fmla="*/ 267 h 1580"/>
                <a:gd name="T46" fmla="*/ 449 w 852"/>
                <a:gd name="T47" fmla="*/ 260 h 1580"/>
                <a:gd name="T48" fmla="*/ 575 w 852"/>
                <a:gd name="T49" fmla="*/ 213 h 1580"/>
                <a:gd name="T50" fmla="*/ 602 w 852"/>
                <a:gd name="T51" fmla="*/ 171 h 1580"/>
                <a:gd name="T52" fmla="*/ 541 w 852"/>
                <a:gd name="T53" fmla="*/ 118 h 1580"/>
                <a:gd name="T54" fmla="*/ 473 w 852"/>
                <a:gd name="T55" fmla="*/ 87 h 1580"/>
                <a:gd name="T56" fmla="*/ 438 w 852"/>
                <a:gd name="T57" fmla="*/ 34 h 1580"/>
                <a:gd name="T58" fmla="*/ 348 w 852"/>
                <a:gd name="T59" fmla="*/ 81 h 1580"/>
                <a:gd name="T60" fmla="*/ 319 w 852"/>
                <a:gd name="T61" fmla="*/ 213 h 1580"/>
                <a:gd name="T62" fmla="*/ 183 w 852"/>
                <a:gd name="T63" fmla="*/ 100 h 1580"/>
                <a:gd name="T64" fmla="*/ 9 w 852"/>
                <a:gd name="T65" fmla="*/ 648 h 1580"/>
                <a:gd name="T66" fmla="*/ 34 w 852"/>
                <a:gd name="T67" fmla="*/ 712 h 1580"/>
                <a:gd name="T68" fmla="*/ 150 w 852"/>
                <a:gd name="T69" fmla="*/ 758 h 1580"/>
                <a:gd name="T70" fmla="*/ 252 w 852"/>
                <a:gd name="T71" fmla="*/ 826 h 1580"/>
                <a:gd name="T72" fmla="*/ 314 w 852"/>
                <a:gd name="T73" fmla="*/ 883 h 1580"/>
                <a:gd name="T74" fmla="*/ 340 w 852"/>
                <a:gd name="T75" fmla="*/ 867 h 1580"/>
                <a:gd name="T76" fmla="*/ 329 w 852"/>
                <a:gd name="T77" fmla="*/ 973 h 1580"/>
                <a:gd name="T78" fmla="*/ 314 w 852"/>
                <a:gd name="T79" fmla="*/ 1077 h 1580"/>
                <a:gd name="T80" fmla="*/ 416 w 852"/>
                <a:gd name="T81" fmla="*/ 1230 h 1580"/>
                <a:gd name="T82" fmla="*/ 419 w 852"/>
                <a:gd name="T83" fmla="*/ 1473 h 1580"/>
                <a:gd name="T84" fmla="*/ 531 w 852"/>
                <a:gd name="T85" fmla="*/ 1580 h 1580"/>
                <a:gd name="T86" fmla="*/ 538 w 852"/>
                <a:gd name="T87" fmla="*/ 1564 h 1580"/>
                <a:gd name="T88" fmla="*/ 578 w 852"/>
                <a:gd name="T89" fmla="*/ 1484 h 1580"/>
                <a:gd name="T90" fmla="*/ 668 w 852"/>
                <a:gd name="T91" fmla="*/ 1423 h 1580"/>
                <a:gd name="T92" fmla="*/ 754 w 852"/>
                <a:gd name="T93" fmla="*/ 1313 h 1580"/>
                <a:gd name="T94" fmla="*/ 804 w 852"/>
                <a:gd name="T95" fmla="*/ 1191 h 1580"/>
                <a:gd name="T96" fmla="*/ 841 w 852"/>
                <a:gd name="T97" fmla="*/ 1123 h 1580"/>
                <a:gd name="T98" fmla="*/ 827 w 852"/>
                <a:gd name="T99" fmla="*/ 1054 h 1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52" h="1580">
                  <a:moveTo>
                    <a:pt x="827" y="1054"/>
                  </a:moveTo>
                  <a:cubicBezTo>
                    <a:pt x="822" y="1051"/>
                    <a:pt x="818" y="1044"/>
                    <a:pt x="811" y="1040"/>
                  </a:cubicBezTo>
                  <a:cubicBezTo>
                    <a:pt x="803" y="1035"/>
                    <a:pt x="795" y="1025"/>
                    <a:pt x="788" y="1027"/>
                  </a:cubicBezTo>
                  <a:cubicBezTo>
                    <a:pt x="750" y="1031"/>
                    <a:pt x="725" y="998"/>
                    <a:pt x="691" y="990"/>
                  </a:cubicBezTo>
                  <a:cubicBezTo>
                    <a:pt x="666" y="985"/>
                    <a:pt x="673" y="959"/>
                    <a:pt x="664" y="943"/>
                  </a:cubicBezTo>
                  <a:cubicBezTo>
                    <a:pt x="654" y="918"/>
                    <a:pt x="637" y="905"/>
                    <a:pt x="610" y="902"/>
                  </a:cubicBezTo>
                  <a:cubicBezTo>
                    <a:pt x="598" y="901"/>
                    <a:pt x="586" y="894"/>
                    <a:pt x="576" y="886"/>
                  </a:cubicBezTo>
                  <a:cubicBezTo>
                    <a:pt x="560" y="874"/>
                    <a:pt x="546" y="859"/>
                    <a:pt x="530" y="845"/>
                  </a:cubicBezTo>
                  <a:cubicBezTo>
                    <a:pt x="526" y="841"/>
                    <a:pt x="518" y="836"/>
                    <a:pt x="514" y="837"/>
                  </a:cubicBezTo>
                  <a:cubicBezTo>
                    <a:pt x="491" y="846"/>
                    <a:pt x="473" y="838"/>
                    <a:pt x="453" y="826"/>
                  </a:cubicBezTo>
                  <a:cubicBezTo>
                    <a:pt x="445" y="821"/>
                    <a:pt x="431" y="827"/>
                    <a:pt x="419" y="829"/>
                  </a:cubicBezTo>
                  <a:cubicBezTo>
                    <a:pt x="420" y="823"/>
                    <a:pt x="423" y="819"/>
                    <a:pt x="424" y="814"/>
                  </a:cubicBezTo>
                  <a:cubicBezTo>
                    <a:pt x="423" y="812"/>
                    <a:pt x="420" y="811"/>
                    <a:pt x="419" y="810"/>
                  </a:cubicBezTo>
                  <a:cubicBezTo>
                    <a:pt x="397" y="827"/>
                    <a:pt x="377" y="846"/>
                    <a:pt x="355" y="865"/>
                  </a:cubicBezTo>
                  <a:cubicBezTo>
                    <a:pt x="346" y="855"/>
                    <a:pt x="333" y="848"/>
                    <a:pt x="314" y="860"/>
                  </a:cubicBezTo>
                  <a:cubicBezTo>
                    <a:pt x="310" y="863"/>
                    <a:pt x="300" y="859"/>
                    <a:pt x="294" y="855"/>
                  </a:cubicBezTo>
                  <a:cubicBezTo>
                    <a:pt x="272" y="838"/>
                    <a:pt x="279" y="815"/>
                    <a:pt x="282" y="794"/>
                  </a:cubicBezTo>
                  <a:cubicBezTo>
                    <a:pt x="285" y="769"/>
                    <a:pt x="278" y="761"/>
                    <a:pt x="253" y="761"/>
                  </a:cubicBezTo>
                  <a:cubicBezTo>
                    <a:pt x="243" y="761"/>
                    <a:pt x="232" y="761"/>
                    <a:pt x="221" y="761"/>
                  </a:cubicBezTo>
                  <a:cubicBezTo>
                    <a:pt x="228" y="734"/>
                    <a:pt x="234" y="708"/>
                    <a:pt x="241" y="684"/>
                  </a:cubicBezTo>
                  <a:cubicBezTo>
                    <a:pt x="215" y="676"/>
                    <a:pt x="205" y="680"/>
                    <a:pt x="199" y="704"/>
                  </a:cubicBezTo>
                  <a:cubicBezTo>
                    <a:pt x="194" y="724"/>
                    <a:pt x="177" y="724"/>
                    <a:pt x="163" y="726"/>
                  </a:cubicBezTo>
                  <a:cubicBezTo>
                    <a:pt x="153" y="727"/>
                    <a:pt x="138" y="722"/>
                    <a:pt x="135" y="715"/>
                  </a:cubicBezTo>
                  <a:cubicBezTo>
                    <a:pt x="126" y="696"/>
                    <a:pt x="119" y="674"/>
                    <a:pt x="115" y="654"/>
                  </a:cubicBezTo>
                  <a:cubicBezTo>
                    <a:pt x="112" y="642"/>
                    <a:pt x="120" y="628"/>
                    <a:pt x="120" y="614"/>
                  </a:cubicBezTo>
                  <a:cubicBezTo>
                    <a:pt x="120" y="570"/>
                    <a:pt x="148" y="551"/>
                    <a:pt x="191" y="563"/>
                  </a:cubicBezTo>
                  <a:cubicBezTo>
                    <a:pt x="196" y="564"/>
                    <a:pt x="203" y="560"/>
                    <a:pt x="209" y="559"/>
                  </a:cubicBezTo>
                  <a:cubicBezTo>
                    <a:pt x="215" y="556"/>
                    <a:pt x="222" y="549"/>
                    <a:pt x="229" y="549"/>
                  </a:cubicBezTo>
                  <a:cubicBezTo>
                    <a:pt x="241" y="549"/>
                    <a:pt x="253" y="559"/>
                    <a:pt x="264" y="556"/>
                  </a:cubicBezTo>
                  <a:cubicBezTo>
                    <a:pt x="286" y="552"/>
                    <a:pt x="287" y="566"/>
                    <a:pt x="291" y="581"/>
                  </a:cubicBezTo>
                  <a:cubicBezTo>
                    <a:pt x="295" y="597"/>
                    <a:pt x="304" y="610"/>
                    <a:pt x="310" y="625"/>
                  </a:cubicBezTo>
                  <a:cubicBezTo>
                    <a:pt x="314" y="624"/>
                    <a:pt x="319" y="624"/>
                    <a:pt x="321" y="623"/>
                  </a:cubicBezTo>
                  <a:cubicBezTo>
                    <a:pt x="319" y="608"/>
                    <a:pt x="320" y="591"/>
                    <a:pt x="314" y="578"/>
                  </a:cubicBezTo>
                  <a:cubicBezTo>
                    <a:pt x="300" y="545"/>
                    <a:pt x="308" y="521"/>
                    <a:pt x="335" y="499"/>
                  </a:cubicBezTo>
                  <a:cubicBezTo>
                    <a:pt x="343" y="492"/>
                    <a:pt x="352" y="488"/>
                    <a:pt x="359" y="480"/>
                  </a:cubicBezTo>
                  <a:cubicBezTo>
                    <a:pt x="365" y="475"/>
                    <a:pt x="369" y="467"/>
                    <a:pt x="370" y="460"/>
                  </a:cubicBezTo>
                  <a:cubicBezTo>
                    <a:pt x="373" y="448"/>
                    <a:pt x="365" y="438"/>
                    <a:pt x="378" y="422"/>
                  </a:cubicBezTo>
                  <a:cubicBezTo>
                    <a:pt x="394" y="403"/>
                    <a:pt x="401" y="374"/>
                    <a:pt x="432" y="372"/>
                  </a:cubicBezTo>
                  <a:cubicBezTo>
                    <a:pt x="428" y="341"/>
                    <a:pt x="458" y="315"/>
                    <a:pt x="499" y="311"/>
                  </a:cubicBezTo>
                  <a:cubicBezTo>
                    <a:pt x="495" y="319"/>
                    <a:pt x="491" y="327"/>
                    <a:pt x="487" y="336"/>
                  </a:cubicBezTo>
                  <a:cubicBezTo>
                    <a:pt x="488" y="336"/>
                    <a:pt x="491" y="338"/>
                    <a:pt x="492" y="338"/>
                  </a:cubicBezTo>
                  <a:cubicBezTo>
                    <a:pt x="514" y="326"/>
                    <a:pt x="536" y="313"/>
                    <a:pt x="557" y="301"/>
                  </a:cubicBezTo>
                  <a:cubicBezTo>
                    <a:pt x="553" y="296"/>
                    <a:pt x="552" y="290"/>
                    <a:pt x="552" y="290"/>
                  </a:cubicBezTo>
                  <a:cubicBezTo>
                    <a:pt x="541" y="294"/>
                    <a:pt x="529" y="304"/>
                    <a:pt x="522" y="301"/>
                  </a:cubicBezTo>
                  <a:cubicBezTo>
                    <a:pt x="512" y="297"/>
                    <a:pt x="507" y="285"/>
                    <a:pt x="499" y="277"/>
                  </a:cubicBezTo>
                  <a:cubicBezTo>
                    <a:pt x="496" y="273"/>
                    <a:pt x="493" y="270"/>
                    <a:pt x="491" y="267"/>
                  </a:cubicBezTo>
                  <a:cubicBezTo>
                    <a:pt x="496" y="265"/>
                    <a:pt x="502" y="259"/>
                    <a:pt x="511" y="254"/>
                  </a:cubicBezTo>
                  <a:cubicBezTo>
                    <a:pt x="484" y="237"/>
                    <a:pt x="468" y="255"/>
                    <a:pt x="449" y="260"/>
                  </a:cubicBezTo>
                  <a:cubicBezTo>
                    <a:pt x="468" y="240"/>
                    <a:pt x="488" y="221"/>
                    <a:pt x="521" y="228"/>
                  </a:cubicBezTo>
                  <a:cubicBezTo>
                    <a:pt x="541" y="232"/>
                    <a:pt x="560" y="232"/>
                    <a:pt x="575" y="213"/>
                  </a:cubicBezTo>
                  <a:cubicBezTo>
                    <a:pt x="578" y="209"/>
                    <a:pt x="586" y="210"/>
                    <a:pt x="592" y="210"/>
                  </a:cubicBezTo>
                  <a:cubicBezTo>
                    <a:pt x="609" y="197"/>
                    <a:pt x="613" y="179"/>
                    <a:pt x="602" y="171"/>
                  </a:cubicBezTo>
                  <a:cubicBezTo>
                    <a:pt x="588" y="160"/>
                    <a:pt x="573" y="152"/>
                    <a:pt x="560" y="141"/>
                  </a:cubicBezTo>
                  <a:cubicBezTo>
                    <a:pt x="552" y="136"/>
                    <a:pt x="545" y="126"/>
                    <a:pt x="541" y="118"/>
                  </a:cubicBezTo>
                  <a:cubicBezTo>
                    <a:pt x="529" y="95"/>
                    <a:pt x="519" y="71"/>
                    <a:pt x="507" y="45"/>
                  </a:cubicBezTo>
                  <a:cubicBezTo>
                    <a:pt x="493" y="61"/>
                    <a:pt x="484" y="75"/>
                    <a:pt x="473" y="87"/>
                  </a:cubicBezTo>
                  <a:cubicBezTo>
                    <a:pt x="470" y="87"/>
                    <a:pt x="466" y="87"/>
                    <a:pt x="464" y="87"/>
                  </a:cubicBezTo>
                  <a:cubicBezTo>
                    <a:pt x="455" y="71"/>
                    <a:pt x="447" y="54"/>
                    <a:pt x="438" y="34"/>
                  </a:cubicBezTo>
                  <a:cubicBezTo>
                    <a:pt x="415" y="14"/>
                    <a:pt x="384" y="0"/>
                    <a:pt x="348" y="7"/>
                  </a:cubicBezTo>
                  <a:cubicBezTo>
                    <a:pt x="348" y="31"/>
                    <a:pt x="348" y="54"/>
                    <a:pt x="348" y="81"/>
                  </a:cubicBezTo>
                  <a:cubicBezTo>
                    <a:pt x="377" y="107"/>
                    <a:pt x="374" y="123"/>
                    <a:pt x="332" y="149"/>
                  </a:cubicBezTo>
                  <a:cubicBezTo>
                    <a:pt x="329" y="170"/>
                    <a:pt x="356" y="193"/>
                    <a:pt x="319" y="213"/>
                  </a:cubicBezTo>
                  <a:cubicBezTo>
                    <a:pt x="309" y="189"/>
                    <a:pt x="300" y="166"/>
                    <a:pt x="291" y="145"/>
                  </a:cubicBezTo>
                  <a:cubicBezTo>
                    <a:pt x="256" y="130"/>
                    <a:pt x="221" y="117"/>
                    <a:pt x="183" y="100"/>
                  </a:cubicBezTo>
                  <a:cubicBezTo>
                    <a:pt x="76" y="254"/>
                    <a:pt x="9" y="435"/>
                    <a:pt x="0" y="635"/>
                  </a:cubicBezTo>
                  <a:cubicBezTo>
                    <a:pt x="2" y="639"/>
                    <a:pt x="7" y="644"/>
                    <a:pt x="9" y="648"/>
                  </a:cubicBezTo>
                  <a:cubicBezTo>
                    <a:pt x="17" y="662"/>
                    <a:pt x="19" y="680"/>
                    <a:pt x="24" y="694"/>
                  </a:cubicBezTo>
                  <a:cubicBezTo>
                    <a:pt x="27" y="701"/>
                    <a:pt x="30" y="708"/>
                    <a:pt x="34" y="712"/>
                  </a:cubicBezTo>
                  <a:cubicBezTo>
                    <a:pt x="53" y="726"/>
                    <a:pt x="73" y="738"/>
                    <a:pt x="93" y="749"/>
                  </a:cubicBezTo>
                  <a:cubicBezTo>
                    <a:pt x="111" y="758"/>
                    <a:pt x="127" y="764"/>
                    <a:pt x="150" y="758"/>
                  </a:cubicBezTo>
                  <a:cubicBezTo>
                    <a:pt x="164" y="756"/>
                    <a:pt x="182" y="780"/>
                    <a:pt x="199" y="788"/>
                  </a:cubicBezTo>
                  <a:cubicBezTo>
                    <a:pt x="220" y="798"/>
                    <a:pt x="241" y="804"/>
                    <a:pt x="252" y="826"/>
                  </a:cubicBezTo>
                  <a:cubicBezTo>
                    <a:pt x="255" y="833"/>
                    <a:pt x="255" y="842"/>
                    <a:pt x="260" y="846"/>
                  </a:cubicBezTo>
                  <a:cubicBezTo>
                    <a:pt x="278" y="860"/>
                    <a:pt x="298" y="872"/>
                    <a:pt x="314" y="883"/>
                  </a:cubicBezTo>
                  <a:cubicBezTo>
                    <a:pt x="320" y="875"/>
                    <a:pt x="325" y="868"/>
                    <a:pt x="331" y="861"/>
                  </a:cubicBezTo>
                  <a:cubicBezTo>
                    <a:pt x="331" y="861"/>
                    <a:pt x="339" y="864"/>
                    <a:pt x="340" y="867"/>
                  </a:cubicBezTo>
                  <a:cubicBezTo>
                    <a:pt x="346" y="880"/>
                    <a:pt x="350" y="894"/>
                    <a:pt x="354" y="909"/>
                  </a:cubicBezTo>
                  <a:cubicBezTo>
                    <a:pt x="361" y="935"/>
                    <a:pt x="346" y="955"/>
                    <a:pt x="329" y="973"/>
                  </a:cubicBezTo>
                  <a:cubicBezTo>
                    <a:pt x="313" y="992"/>
                    <a:pt x="310" y="1011"/>
                    <a:pt x="323" y="1032"/>
                  </a:cubicBezTo>
                  <a:cubicBezTo>
                    <a:pt x="305" y="1044"/>
                    <a:pt x="306" y="1061"/>
                    <a:pt x="314" y="1077"/>
                  </a:cubicBezTo>
                  <a:cubicBezTo>
                    <a:pt x="324" y="1095"/>
                    <a:pt x="335" y="1111"/>
                    <a:pt x="343" y="1127"/>
                  </a:cubicBezTo>
                  <a:cubicBezTo>
                    <a:pt x="362" y="1165"/>
                    <a:pt x="370" y="1211"/>
                    <a:pt x="416" y="1230"/>
                  </a:cubicBezTo>
                  <a:cubicBezTo>
                    <a:pt x="432" y="1237"/>
                    <a:pt x="439" y="1255"/>
                    <a:pt x="438" y="1274"/>
                  </a:cubicBezTo>
                  <a:cubicBezTo>
                    <a:pt x="432" y="1340"/>
                    <a:pt x="428" y="1408"/>
                    <a:pt x="419" y="1473"/>
                  </a:cubicBezTo>
                  <a:cubicBezTo>
                    <a:pt x="418" y="1484"/>
                    <a:pt x="415" y="1495"/>
                    <a:pt x="412" y="1504"/>
                  </a:cubicBezTo>
                  <a:cubicBezTo>
                    <a:pt x="450" y="1533"/>
                    <a:pt x="489" y="1557"/>
                    <a:pt x="531" y="1580"/>
                  </a:cubicBezTo>
                  <a:cubicBezTo>
                    <a:pt x="533" y="1573"/>
                    <a:pt x="533" y="1565"/>
                    <a:pt x="534" y="1558"/>
                  </a:cubicBezTo>
                  <a:cubicBezTo>
                    <a:pt x="536" y="1560"/>
                    <a:pt x="537" y="1563"/>
                    <a:pt x="538" y="1564"/>
                  </a:cubicBezTo>
                  <a:cubicBezTo>
                    <a:pt x="556" y="1554"/>
                    <a:pt x="576" y="1549"/>
                    <a:pt x="588" y="1535"/>
                  </a:cubicBezTo>
                  <a:cubicBezTo>
                    <a:pt x="605" y="1518"/>
                    <a:pt x="586" y="1501"/>
                    <a:pt x="578" y="1484"/>
                  </a:cubicBezTo>
                  <a:cubicBezTo>
                    <a:pt x="625" y="1497"/>
                    <a:pt x="635" y="1493"/>
                    <a:pt x="651" y="1447"/>
                  </a:cubicBezTo>
                  <a:cubicBezTo>
                    <a:pt x="654" y="1438"/>
                    <a:pt x="663" y="1432"/>
                    <a:pt x="668" y="1423"/>
                  </a:cubicBezTo>
                  <a:cubicBezTo>
                    <a:pt x="677" y="1409"/>
                    <a:pt x="689" y="1396"/>
                    <a:pt x="690" y="1381"/>
                  </a:cubicBezTo>
                  <a:cubicBezTo>
                    <a:pt x="694" y="1344"/>
                    <a:pt x="716" y="1320"/>
                    <a:pt x="754" y="1313"/>
                  </a:cubicBezTo>
                  <a:cubicBezTo>
                    <a:pt x="763" y="1312"/>
                    <a:pt x="774" y="1302"/>
                    <a:pt x="780" y="1294"/>
                  </a:cubicBezTo>
                  <a:cubicBezTo>
                    <a:pt x="797" y="1261"/>
                    <a:pt x="807" y="1228"/>
                    <a:pt x="804" y="1191"/>
                  </a:cubicBezTo>
                  <a:cubicBezTo>
                    <a:pt x="804" y="1184"/>
                    <a:pt x="805" y="1176"/>
                    <a:pt x="808" y="1171"/>
                  </a:cubicBezTo>
                  <a:cubicBezTo>
                    <a:pt x="819" y="1154"/>
                    <a:pt x="833" y="1141"/>
                    <a:pt x="841" y="1123"/>
                  </a:cubicBezTo>
                  <a:cubicBezTo>
                    <a:pt x="847" y="1108"/>
                    <a:pt x="847" y="1091"/>
                    <a:pt x="850" y="1074"/>
                  </a:cubicBezTo>
                  <a:cubicBezTo>
                    <a:pt x="852" y="1058"/>
                    <a:pt x="837" y="1059"/>
                    <a:pt x="827" y="105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0" name="Freeform 179">
              <a:extLst>
                <a:ext uri="{FF2B5EF4-FFF2-40B4-BE49-F238E27FC236}">
                  <a16:creationId xmlns:a16="http://schemas.microsoft.com/office/drawing/2014/main" id="{8E561FA6-6778-4272-BBCE-C2CFA6CBE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0702" y="1829915"/>
              <a:ext cx="292627" cy="255868"/>
            </a:xfrm>
            <a:custGeom>
              <a:avLst/>
              <a:gdLst>
                <a:gd name="T0" fmla="*/ 439 w 447"/>
                <a:gd name="T1" fmla="*/ 14 h 391"/>
                <a:gd name="T2" fmla="*/ 411 w 447"/>
                <a:gd name="T3" fmla="*/ 7 h 391"/>
                <a:gd name="T4" fmla="*/ 416 w 447"/>
                <a:gd name="T5" fmla="*/ 0 h 391"/>
                <a:gd name="T6" fmla="*/ 0 w 447"/>
                <a:gd name="T7" fmla="*/ 91 h 391"/>
                <a:gd name="T8" fmla="*/ 12 w 447"/>
                <a:gd name="T9" fmla="*/ 151 h 391"/>
                <a:gd name="T10" fmla="*/ 65 w 447"/>
                <a:gd name="T11" fmla="*/ 170 h 391"/>
                <a:gd name="T12" fmla="*/ 62 w 447"/>
                <a:gd name="T13" fmla="*/ 177 h 391"/>
                <a:gd name="T14" fmla="*/ 19 w 447"/>
                <a:gd name="T15" fmla="*/ 197 h 391"/>
                <a:gd name="T16" fmla="*/ 51 w 447"/>
                <a:gd name="T17" fmla="*/ 201 h 391"/>
                <a:gd name="T18" fmla="*/ 56 w 447"/>
                <a:gd name="T19" fmla="*/ 193 h 391"/>
                <a:gd name="T20" fmla="*/ 41 w 447"/>
                <a:gd name="T21" fmla="*/ 188 h 391"/>
                <a:gd name="T22" fmla="*/ 47 w 447"/>
                <a:gd name="T23" fmla="*/ 181 h 391"/>
                <a:gd name="T24" fmla="*/ 65 w 447"/>
                <a:gd name="T25" fmla="*/ 201 h 391"/>
                <a:gd name="T26" fmla="*/ 47 w 447"/>
                <a:gd name="T27" fmla="*/ 219 h 391"/>
                <a:gd name="T28" fmla="*/ 35 w 447"/>
                <a:gd name="T29" fmla="*/ 250 h 391"/>
                <a:gd name="T30" fmla="*/ 51 w 447"/>
                <a:gd name="T31" fmla="*/ 292 h 391"/>
                <a:gd name="T32" fmla="*/ 123 w 447"/>
                <a:gd name="T33" fmla="*/ 373 h 391"/>
                <a:gd name="T34" fmla="*/ 134 w 447"/>
                <a:gd name="T35" fmla="*/ 382 h 391"/>
                <a:gd name="T36" fmla="*/ 159 w 447"/>
                <a:gd name="T37" fmla="*/ 376 h 391"/>
                <a:gd name="T38" fmla="*/ 184 w 447"/>
                <a:gd name="T39" fmla="*/ 316 h 391"/>
                <a:gd name="T40" fmla="*/ 187 w 447"/>
                <a:gd name="T41" fmla="*/ 303 h 391"/>
                <a:gd name="T42" fmla="*/ 214 w 447"/>
                <a:gd name="T43" fmla="*/ 277 h 391"/>
                <a:gd name="T44" fmla="*/ 271 w 447"/>
                <a:gd name="T45" fmla="*/ 246 h 391"/>
                <a:gd name="T46" fmla="*/ 301 w 447"/>
                <a:gd name="T47" fmla="*/ 230 h 391"/>
                <a:gd name="T48" fmla="*/ 393 w 447"/>
                <a:gd name="T49" fmla="*/ 189 h 391"/>
                <a:gd name="T50" fmla="*/ 355 w 447"/>
                <a:gd name="T51" fmla="*/ 181 h 391"/>
                <a:gd name="T52" fmla="*/ 366 w 447"/>
                <a:gd name="T53" fmla="*/ 163 h 391"/>
                <a:gd name="T54" fmla="*/ 408 w 447"/>
                <a:gd name="T55" fmla="*/ 184 h 391"/>
                <a:gd name="T56" fmla="*/ 396 w 447"/>
                <a:gd name="T57" fmla="*/ 122 h 391"/>
                <a:gd name="T58" fmla="*/ 437 w 447"/>
                <a:gd name="T59" fmla="*/ 93 h 391"/>
                <a:gd name="T60" fmla="*/ 423 w 447"/>
                <a:gd name="T61" fmla="*/ 78 h 391"/>
                <a:gd name="T62" fmla="*/ 434 w 447"/>
                <a:gd name="T63" fmla="*/ 71 h 391"/>
                <a:gd name="T64" fmla="*/ 408 w 447"/>
                <a:gd name="T65" fmla="*/ 41 h 391"/>
                <a:gd name="T66" fmla="*/ 443 w 447"/>
                <a:gd name="T67" fmla="*/ 41 h 391"/>
                <a:gd name="T68" fmla="*/ 447 w 447"/>
                <a:gd name="T69" fmla="*/ 30 h 391"/>
                <a:gd name="T70" fmla="*/ 419 w 447"/>
                <a:gd name="T71" fmla="*/ 22 h 391"/>
                <a:gd name="T72" fmla="*/ 439 w 447"/>
                <a:gd name="T73" fmla="*/ 14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7" h="391">
                  <a:moveTo>
                    <a:pt x="439" y="14"/>
                  </a:moveTo>
                  <a:cubicBezTo>
                    <a:pt x="428" y="11"/>
                    <a:pt x="420" y="10"/>
                    <a:pt x="411" y="7"/>
                  </a:cubicBezTo>
                  <a:cubicBezTo>
                    <a:pt x="412" y="4"/>
                    <a:pt x="415" y="2"/>
                    <a:pt x="416" y="0"/>
                  </a:cubicBezTo>
                  <a:cubicBezTo>
                    <a:pt x="267" y="2"/>
                    <a:pt x="127" y="33"/>
                    <a:pt x="0" y="91"/>
                  </a:cubicBezTo>
                  <a:cubicBezTo>
                    <a:pt x="12" y="109"/>
                    <a:pt x="18" y="129"/>
                    <a:pt x="12" y="151"/>
                  </a:cubicBezTo>
                  <a:cubicBezTo>
                    <a:pt x="31" y="158"/>
                    <a:pt x="47" y="163"/>
                    <a:pt x="65" y="170"/>
                  </a:cubicBezTo>
                  <a:cubicBezTo>
                    <a:pt x="64" y="173"/>
                    <a:pt x="64" y="174"/>
                    <a:pt x="62" y="177"/>
                  </a:cubicBezTo>
                  <a:cubicBezTo>
                    <a:pt x="30" y="171"/>
                    <a:pt x="30" y="171"/>
                    <a:pt x="19" y="197"/>
                  </a:cubicBezTo>
                  <a:cubicBezTo>
                    <a:pt x="31" y="198"/>
                    <a:pt x="41" y="200"/>
                    <a:pt x="51" y="201"/>
                  </a:cubicBezTo>
                  <a:cubicBezTo>
                    <a:pt x="53" y="198"/>
                    <a:pt x="54" y="196"/>
                    <a:pt x="56" y="193"/>
                  </a:cubicBezTo>
                  <a:cubicBezTo>
                    <a:pt x="50" y="192"/>
                    <a:pt x="46" y="190"/>
                    <a:pt x="41" y="188"/>
                  </a:cubicBezTo>
                  <a:cubicBezTo>
                    <a:pt x="43" y="185"/>
                    <a:pt x="45" y="184"/>
                    <a:pt x="47" y="181"/>
                  </a:cubicBezTo>
                  <a:cubicBezTo>
                    <a:pt x="54" y="188"/>
                    <a:pt x="64" y="193"/>
                    <a:pt x="65" y="201"/>
                  </a:cubicBezTo>
                  <a:cubicBezTo>
                    <a:pt x="68" y="212"/>
                    <a:pt x="61" y="217"/>
                    <a:pt x="47" y="219"/>
                  </a:cubicBezTo>
                  <a:cubicBezTo>
                    <a:pt x="42" y="219"/>
                    <a:pt x="34" y="239"/>
                    <a:pt x="35" y="250"/>
                  </a:cubicBezTo>
                  <a:cubicBezTo>
                    <a:pt x="37" y="265"/>
                    <a:pt x="45" y="278"/>
                    <a:pt x="51" y="292"/>
                  </a:cubicBezTo>
                  <a:cubicBezTo>
                    <a:pt x="68" y="326"/>
                    <a:pt x="76" y="367"/>
                    <a:pt x="123" y="373"/>
                  </a:cubicBezTo>
                  <a:cubicBezTo>
                    <a:pt x="127" y="373"/>
                    <a:pt x="130" y="379"/>
                    <a:pt x="134" y="382"/>
                  </a:cubicBezTo>
                  <a:cubicBezTo>
                    <a:pt x="145" y="391"/>
                    <a:pt x="153" y="391"/>
                    <a:pt x="159" y="376"/>
                  </a:cubicBezTo>
                  <a:cubicBezTo>
                    <a:pt x="165" y="356"/>
                    <a:pt x="167" y="333"/>
                    <a:pt x="184" y="316"/>
                  </a:cubicBezTo>
                  <a:cubicBezTo>
                    <a:pt x="187" y="314"/>
                    <a:pt x="186" y="307"/>
                    <a:pt x="187" y="303"/>
                  </a:cubicBezTo>
                  <a:cubicBezTo>
                    <a:pt x="188" y="285"/>
                    <a:pt x="198" y="277"/>
                    <a:pt x="214" y="277"/>
                  </a:cubicBezTo>
                  <a:cubicBezTo>
                    <a:pt x="239" y="276"/>
                    <a:pt x="256" y="264"/>
                    <a:pt x="271" y="246"/>
                  </a:cubicBezTo>
                  <a:cubicBezTo>
                    <a:pt x="278" y="238"/>
                    <a:pt x="290" y="232"/>
                    <a:pt x="301" y="230"/>
                  </a:cubicBezTo>
                  <a:cubicBezTo>
                    <a:pt x="334" y="220"/>
                    <a:pt x="367" y="216"/>
                    <a:pt x="393" y="189"/>
                  </a:cubicBezTo>
                  <a:cubicBezTo>
                    <a:pt x="380" y="186"/>
                    <a:pt x="367" y="184"/>
                    <a:pt x="355" y="181"/>
                  </a:cubicBezTo>
                  <a:cubicBezTo>
                    <a:pt x="359" y="174"/>
                    <a:pt x="363" y="167"/>
                    <a:pt x="366" y="163"/>
                  </a:cubicBezTo>
                  <a:cubicBezTo>
                    <a:pt x="378" y="170"/>
                    <a:pt x="391" y="175"/>
                    <a:pt x="408" y="184"/>
                  </a:cubicBezTo>
                  <a:cubicBezTo>
                    <a:pt x="403" y="156"/>
                    <a:pt x="399" y="137"/>
                    <a:pt x="396" y="122"/>
                  </a:cubicBezTo>
                  <a:cubicBezTo>
                    <a:pt x="410" y="112"/>
                    <a:pt x="423" y="102"/>
                    <a:pt x="437" y="93"/>
                  </a:cubicBezTo>
                  <a:cubicBezTo>
                    <a:pt x="431" y="87"/>
                    <a:pt x="427" y="82"/>
                    <a:pt x="423" y="78"/>
                  </a:cubicBezTo>
                  <a:cubicBezTo>
                    <a:pt x="427" y="75"/>
                    <a:pt x="431" y="72"/>
                    <a:pt x="434" y="71"/>
                  </a:cubicBezTo>
                  <a:cubicBezTo>
                    <a:pt x="426" y="61"/>
                    <a:pt x="418" y="53"/>
                    <a:pt x="408" y="41"/>
                  </a:cubicBezTo>
                  <a:cubicBezTo>
                    <a:pt x="419" y="41"/>
                    <a:pt x="430" y="41"/>
                    <a:pt x="443" y="41"/>
                  </a:cubicBezTo>
                  <a:cubicBezTo>
                    <a:pt x="443" y="40"/>
                    <a:pt x="446" y="36"/>
                    <a:pt x="447" y="30"/>
                  </a:cubicBezTo>
                  <a:cubicBezTo>
                    <a:pt x="438" y="28"/>
                    <a:pt x="431" y="26"/>
                    <a:pt x="419" y="22"/>
                  </a:cubicBezTo>
                  <a:cubicBezTo>
                    <a:pt x="430" y="18"/>
                    <a:pt x="433" y="17"/>
                    <a:pt x="439" y="1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1" name="Freeform 180">
              <a:extLst>
                <a:ext uri="{FF2B5EF4-FFF2-40B4-BE49-F238E27FC236}">
                  <a16:creationId xmlns:a16="http://schemas.microsoft.com/office/drawing/2014/main" id="{D5D7350C-4385-4D25-B6F7-3AF9616B7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101" y="1943051"/>
              <a:ext cx="129844" cy="115522"/>
            </a:xfrm>
            <a:custGeom>
              <a:avLst/>
              <a:gdLst>
                <a:gd name="T0" fmla="*/ 68 w 198"/>
                <a:gd name="T1" fmla="*/ 70 h 177"/>
                <a:gd name="T2" fmla="*/ 45 w 198"/>
                <a:gd name="T3" fmla="*/ 101 h 177"/>
                <a:gd name="T4" fmla="*/ 0 w 198"/>
                <a:gd name="T5" fmla="*/ 129 h 177"/>
                <a:gd name="T6" fmla="*/ 26 w 198"/>
                <a:gd name="T7" fmla="*/ 129 h 177"/>
                <a:gd name="T8" fmla="*/ 75 w 198"/>
                <a:gd name="T9" fmla="*/ 143 h 177"/>
                <a:gd name="T10" fmla="*/ 140 w 198"/>
                <a:gd name="T11" fmla="*/ 177 h 177"/>
                <a:gd name="T12" fmla="*/ 144 w 198"/>
                <a:gd name="T13" fmla="*/ 172 h 177"/>
                <a:gd name="T14" fmla="*/ 117 w 198"/>
                <a:gd name="T15" fmla="*/ 148 h 177"/>
                <a:gd name="T16" fmla="*/ 118 w 198"/>
                <a:gd name="T17" fmla="*/ 145 h 177"/>
                <a:gd name="T18" fmla="*/ 154 w 198"/>
                <a:gd name="T19" fmla="*/ 161 h 177"/>
                <a:gd name="T20" fmla="*/ 144 w 198"/>
                <a:gd name="T21" fmla="*/ 120 h 177"/>
                <a:gd name="T22" fmla="*/ 130 w 198"/>
                <a:gd name="T23" fmla="*/ 86 h 177"/>
                <a:gd name="T24" fmla="*/ 170 w 198"/>
                <a:gd name="T25" fmla="*/ 118 h 177"/>
                <a:gd name="T26" fmla="*/ 198 w 198"/>
                <a:gd name="T27" fmla="*/ 82 h 177"/>
                <a:gd name="T28" fmla="*/ 125 w 198"/>
                <a:gd name="T29" fmla="*/ 44 h 177"/>
                <a:gd name="T30" fmla="*/ 126 w 198"/>
                <a:gd name="T31" fmla="*/ 15 h 177"/>
                <a:gd name="T32" fmla="*/ 106 w 198"/>
                <a:gd name="T33" fmla="*/ 0 h 177"/>
                <a:gd name="T34" fmla="*/ 46 w 198"/>
                <a:gd name="T35" fmla="*/ 43 h 177"/>
                <a:gd name="T36" fmla="*/ 68 w 198"/>
                <a:gd name="T37" fmla="*/ 7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8" h="177">
                  <a:moveTo>
                    <a:pt x="68" y="70"/>
                  </a:moveTo>
                  <a:cubicBezTo>
                    <a:pt x="60" y="81"/>
                    <a:pt x="52" y="92"/>
                    <a:pt x="45" y="101"/>
                  </a:cubicBezTo>
                  <a:cubicBezTo>
                    <a:pt x="38" y="122"/>
                    <a:pt x="8" y="95"/>
                    <a:pt x="0" y="129"/>
                  </a:cubicBezTo>
                  <a:cubicBezTo>
                    <a:pt x="10" y="129"/>
                    <a:pt x="19" y="131"/>
                    <a:pt x="26" y="129"/>
                  </a:cubicBezTo>
                  <a:cubicBezTo>
                    <a:pt x="46" y="122"/>
                    <a:pt x="65" y="129"/>
                    <a:pt x="75" y="143"/>
                  </a:cubicBezTo>
                  <a:cubicBezTo>
                    <a:pt x="93" y="168"/>
                    <a:pt x="118" y="168"/>
                    <a:pt x="140" y="177"/>
                  </a:cubicBezTo>
                  <a:cubicBezTo>
                    <a:pt x="141" y="176"/>
                    <a:pt x="143" y="173"/>
                    <a:pt x="144" y="172"/>
                  </a:cubicBezTo>
                  <a:cubicBezTo>
                    <a:pt x="135" y="164"/>
                    <a:pt x="125" y="156"/>
                    <a:pt x="117" y="148"/>
                  </a:cubicBezTo>
                  <a:cubicBezTo>
                    <a:pt x="117" y="146"/>
                    <a:pt x="118" y="146"/>
                    <a:pt x="118" y="145"/>
                  </a:cubicBezTo>
                  <a:cubicBezTo>
                    <a:pt x="130" y="150"/>
                    <a:pt x="141" y="156"/>
                    <a:pt x="154" y="161"/>
                  </a:cubicBezTo>
                  <a:cubicBezTo>
                    <a:pt x="170" y="142"/>
                    <a:pt x="159" y="130"/>
                    <a:pt x="144" y="120"/>
                  </a:cubicBezTo>
                  <a:cubicBezTo>
                    <a:pt x="132" y="112"/>
                    <a:pt x="122" y="105"/>
                    <a:pt x="130" y="86"/>
                  </a:cubicBezTo>
                  <a:cubicBezTo>
                    <a:pt x="144" y="97"/>
                    <a:pt x="156" y="108"/>
                    <a:pt x="170" y="118"/>
                  </a:cubicBezTo>
                  <a:cubicBezTo>
                    <a:pt x="181" y="105"/>
                    <a:pt x="189" y="95"/>
                    <a:pt x="198" y="82"/>
                  </a:cubicBezTo>
                  <a:cubicBezTo>
                    <a:pt x="170" y="67"/>
                    <a:pt x="145" y="55"/>
                    <a:pt x="125" y="44"/>
                  </a:cubicBezTo>
                  <a:cubicBezTo>
                    <a:pt x="126" y="31"/>
                    <a:pt x="130" y="20"/>
                    <a:pt x="126" y="15"/>
                  </a:cubicBezTo>
                  <a:cubicBezTo>
                    <a:pt x="122" y="8"/>
                    <a:pt x="113" y="4"/>
                    <a:pt x="106" y="0"/>
                  </a:cubicBezTo>
                  <a:cubicBezTo>
                    <a:pt x="86" y="13"/>
                    <a:pt x="65" y="28"/>
                    <a:pt x="46" y="43"/>
                  </a:cubicBezTo>
                  <a:cubicBezTo>
                    <a:pt x="56" y="49"/>
                    <a:pt x="64" y="58"/>
                    <a:pt x="68" y="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2" name="Freeform 181">
              <a:extLst>
                <a:ext uri="{FF2B5EF4-FFF2-40B4-BE49-F238E27FC236}">
                  <a16:creationId xmlns:a16="http://schemas.microsoft.com/office/drawing/2014/main" id="{371D1DFE-A446-4F60-8514-9F3112E82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3536" y="2809949"/>
              <a:ext cx="58238" cy="120297"/>
            </a:xfrm>
            <a:custGeom>
              <a:avLst/>
              <a:gdLst>
                <a:gd name="T0" fmla="*/ 83 w 89"/>
                <a:gd name="T1" fmla="*/ 53 h 184"/>
                <a:gd name="T2" fmla="*/ 79 w 89"/>
                <a:gd name="T3" fmla="*/ 0 h 184"/>
                <a:gd name="T4" fmla="*/ 34 w 89"/>
                <a:gd name="T5" fmla="*/ 46 h 184"/>
                <a:gd name="T6" fmla="*/ 15 w 89"/>
                <a:gd name="T7" fmla="*/ 87 h 184"/>
                <a:gd name="T8" fmla="*/ 11 w 89"/>
                <a:gd name="T9" fmla="*/ 122 h 184"/>
                <a:gd name="T10" fmla="*/ 14 w 89"/>
                <a:gd name="T11" fmla="*/ 176 h 184"/>
                <a:gd name="T12" fmla="*/ 27 w 89"/>
                <a:gd name="T13" fmla="*/ 184 h 184"/>
                <a:gd name="T14" fmla="*/ 60 w 89"/>
                <a:gd name="T15" fmla="*/ 145 h 184"/>
                <a:gd name="T16" fmla="*/ 83 w 89"/>
                <a:gd name="T17" fmla="*/ 5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" h="184">
                  <a:moveTo>
                    <a:pt x="83" y="53"/>
                  </a:moveTo>
                  <a:cubicBezTo>
                    <a:pt x="89" y="31"/>
                    <a:pt x="87" y="15"/>
                    <a:pt x="79" y="0"/>
                  </a:cubicBezTo>
                  <a:cubicBezTo>
                    <a:pt x="62" y="16"/>
                    <a:pt x="51" y="35"/>
                    <a:pt x="34" y="46"/>
                  </a:cubicBezTo>
                  <a:cubicBezTo>
                    <a:pt x="16" y="57"/>
                    <a:pt x="14" y="68"/>
                    <a:pt x="15" y="87"/>
                  </a:cubicBezTo>
                  <a:cubicBezTo>
                    <a:pt x="16" y="99"/>
                    <a:pt x="16" y="112"/>
                    <a:pt x="11" y="122"/>
                  </a:cubicBezTo>
                  <a:cubicBezTo>
                    <a:pt x="0" y="141"/>
                    <a:pt x="8" y="158"/>
                    <a:pt x="14" y="176"/>
                  </a:cubicBezTo>
                  <a:cubicBezTo>
                    <a:pt x="15" y="179"/>
                    <a:pt x="20" y="183"/>
                    <a:pt x="27" y="184"/>
                  </a:cubicBezTo>
                  <a:cubicBezTo>
                    <a:pt x="38" y="172"/>
                    <a:pt x="49" y="158"/>
                    <a:pt x="60" y="145"/>
                  </a:cubicBezTo>
                  <a:cubicBezTo>
                    <a:pt x="68" y="114"/>
                    <a:pt x="73" y="83"/>
                    <a:pt x="83" y="5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3" name="Freeform 182">
              <a:extLst>
                <a:ext uri="{FF2B5EF4-FFF2-40B4-BE49-F238E27FC236}">
                  <a16:creationId xmlns:a16="http://schemas.microsoft.com/office/drawing/2014/main" id="{C5443FF3-9FD6-4A31-A4EC-E3F39EDC3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3074" y="2100104"/>
              <a:ext cx="63490" cy="96906"/>
            </a:xfrm>
            <a:custGeom>
              <a:avLst/>
              <a:gdLst>
                <a:gd name="T0" fmla="*/ 47 w 97"/>
                <a:gd name="T1" fmla="*/ 42 h 148"/>
                <a:gd name="T2" fmla="*/ 97 w 97"/>
                <a:gd name="T3" fmla="*/ 112 h 148"/>
                <a:gd name="T4" fmla="*/ 63 w 97"/>
                <a:gd name="T5" fmla="*/ 141 h 148"/>
                <a:gd name="T6" fmla="*/ 18 w 97"/>
                <a:gd name="T7" fmla="*/ 148 h 148"/>
                <a:gd name="T8" fmla="*/ 38 w 97"/>
                <a:gd name="T9" fmla="*/ 129 h 148"/>
                <a:gd name="T10" fmla="*/ 19 w 97"/>
                <a:gd name="T11" fmla="*/ 120 h 148"/>
                <a:gd name="T12" fmla="*/ 43 w 97"/>
                <a:gd name="T13" fmla="*/ 88 h 148"/>
                <a:gd name="T14" fmla="*/ 34 w 97"/>
                <a:gd name="T15" fmla="*/ 69 h 148"/>
                <a:gd name="T16" fmla="*/ 9 w 97"/>
                <a:gd name="T17" fmla="*/ 38 h 148"/>
                <a:gd name="T18" fmla="*/ 40 w 97"/>
                <a:gd name="T19" fmla="*/ 0 h 148"/>
                <a:gd name="T20" fmla="*/ 32 w 97"/>
                <a:gd name="T21" fmla="*/ 15 h 148"/>
                <a:gd name="T22" fmla="*/ 56 w 97"/>
                <a:gd name="T23" fmla="*/ 17 h 148"/>
                <a:gd name="T24" fmla="*/ 47 w 97"/>
                <a:gd name="T25" fmla="*/ 4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" h="148">
                  <a:moveTo>
                    <a:pt x="47" y="42"/>
                  </a:moveTo>
                  <a:cubicBezTo>
                    <a:pt x="63" y="65"/>
                    <a:pt x="78" y="87"/>
                    <a:pt x="97" y="112"/>
                  </a:cubicBezTo>
                  <a:cubicBezTo>
                    <a:pt x="94" y="126"/>
                    <a:pt x="89" y="142"/>
                    <a:pt x="63" y="141"/>
                  </a:cubicBezTo>
                  <a:cubicBezTo>
                    <a:pt x="51" y="141"/>
                    <a:pt x="37" y="145"/>
                    <a:pt x="18" y="148"/>
                  </a:cubicBezTo>
                  <a:cubicBezTo>
                    <a:pt x="28" y="139"/>
                    <a:pt x="33" y="134"/>
                    <a:pt x="38" y="129"/>
                  </a:cubicBezTo>
                  <a:cubicBezTo>
                    <a:pt x="33" y="126"/>
                    <a:pt x="26" y="123"/>
                    <a:pt x="19" y="120"/>
                  </a:cubicBezTo>
                  <a:cubicBezTo>
                    <a:pt x="28" y="110"/>
                    <a:pt x="37" y="100"/>
                    <a:pt x="43" y="88"/>
                  </a:cubicBezTo>
                  <a:cubicBezTo>
                    <a:pt x="45" y="84"/>
                    <a:pt x="38" y="69"/>
                    <a:pt x="34" y="69"/>
                  </a:cubicBezTo>
                  <a:cubicBezTo>
                    <a:pt x="17" y="65"/>
                    <a:pt x="14" y="50"/>
                    <a:pt x="9" y="38"/>
                  </a:cubicBezTo>
                  <a:cubicBezTo>
                    <a:pt x="0" y="17"/>
                    <a:pt x="15" y="1"/>
                    <a:pt x="40" y="0"/>
                  </a:cubicBezTo>
                  <a:cubicBezTo>
                    <a:pt x="37" y="5"/>
                    <a:pt x="34" y="9"/>
                    <a:pt x="32" y="15"/>
                  </a:cubicBezTo>
                  <a:cubicBezTo>
                    <a:pt x="40" y="15"/>
                    <a:pt x="47" y="16"/>
                    <a:pt x="56" y="17"/>
                  </a:cubicBezTo>
                  <a:cubicBezTo>
                    <a:pt x="53" y="27"/>
                    <a:pt x="51" y="34"/>
                    <a:pt x="47" y="4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4" name="Freeform 183">
              <a:extLst>
                <a:ext uri="{FF2B5EF4-FFF2-40B4-BE49-F238E27FC236}">
                  <a16:creationId xmlns:a16="http://schemas.microsoft.com/office/drawing/2014/main" id="{4598B81A-5C1B-4D63-A5D4-521B69605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8456" y="2002721"/>
              <a:ext cx="81629" cy="43441"/>
            </a:xfrm>
            <a:custGeom>
              <a:avLst/>
              <a:gdLst>
                <a:gd name="T0" fmla="*/ 17 w 125"/>
                <a:gd name="T1" fmla="*/ 28 h 67"/>
                <a:gd name="T2" fmla="*/ 26 w 125"/>
                <a:gd name="T3" fmla="*/ 19 h 67"/>
                <a:gd name="T4" fmla="*/ 0 w 125"/>
                <a:gd name="T5" fmla="*/ 16 h 67"/>
                <a:gd name="T6" fmla="*/ 19 w 125"/>
                <a:gd name="T7" fmla="*/ 1 h 67"/>
                <a:gd name="T8" fmla="*/ 41 w 125"/>
                <a:gd name="T9" fmla="*/ 13 h 67"/>
                <a:gd name="T10" fmla="*/ 95 w 125"/>
                <a:gd name="T11" fmla="*/ 0 h 67"/>
                <a:gd name="T12" fmla="*/ 124 w 125"/>
                <a:gd name="T13" fmla="*/ 20 h 67"/>
                <a:gd name="T14" fmla="*/ 112 w 125"/>
                <a:gd name="T15" fmla="*/ 39 h 67"/>
                <a:gd name="T16" fmla="*/ 36 w 125"/>
                <a:gd name="T17" fmla="*/ 50 h 67"/>
                <a:gd name="T18" fmla="*/ 17 w 125"/>
                <a:gd name="T1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5" h="67">
                  <a:moveTo>
                    <a:pt x="17" y="28"/>
                  </a:moveTo>
                  <a:cubicBezTo>
                    <a:pt x="19" y="25"/>
                    <a:pt x="22" y="23"/>
                    <a:pt x="26" y="19"/>
                  </a:cubicBezTo>
                  <a:cubicBezTo>
                    <a:pt x="17" y="17"/>
                    <a:pt x="11" y="16"/>
                    <a:pt x="0" y="16"/>
                  </a:cubicBezTo>
                  <a:cubicBezTo>
                    <a:pt x="8" y="9"/>
                    <a:pt x="14" y="1"/>
                    <a:pt x="19" y="1"/>
                  </a:cubicBezTo>
                  <a:cubicBezTo>
                    <a:pt x="26" y="1"/>
                    <a:pt x="33" y="8"/>
                    <a:pt x="41" y="13"/>
                  </a:cubicBezTo>
                  <a:cubicBezTo>
                    <a:pt x="56" y="9"/>
                    <a:pt x="75" y="1"/>
                    <a:pt x="95" y="0"/>
                  </a:cubicBezTo>
                  <a:cubicBezTo>
                    <a:pt x="105" y="0"/>
                    <a:pt x="116" y="12"/>
                    <a:pt x="124" y="20"/>
                  </a:cubicBezTo>
                  <a:cubicBezTo>
                    <a:pt x="125" y="21"/>
                    <a:pt x="117" y="36"/>
                    <a:pt x="112" y="39"/>
                  </a:cubicBezTo>
                  <a:cubicBezTo>
                    <a:pt x="87" y="50"/>
                    <a:pt x="63" y="67"/>
                    <a:pt x="36" y="50"/>
                  </a:cubicBezTo>
                  <a:cubicBezTo>
                    <a:pt x="27" y="43"/>
                    <a:pt x="22" y="35"/>
                    <a:pt x="17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5" name="Freeform 184">
              <a:extLst>
                <a:ext uri="{FF2B5EF4-FFF2-40B4-BE49-F238E27FC236}">
                  <a16:creationId xmlns:a16="http://schemas.microsoft.com/office/drawing/2014/main" id="{9F73FD81-0229-4E86-B906-E8504A2CD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1130" y="2184599"/>
              <a:ext cx="44396" cy="48215"/>
            </a:xfrm>
            <a:custGeom>
              <a:avLst/>
              <a:gdLst>
                <a:gd name="T0" fmla="*/ 24 w 68"/>
                <a:gd name="T1" fmla="*/ 1 h 74"/>
                <a:gd name="T2" fmla="*/ 38 w 68"/>
                <a:gd name="T3" fmla="*/ 0 h 74"/>
                <a:gd name="T4" fmla="*/ 61 w 68"/>
                <a:gd name="T5" fmla="*/ 35 h 74"/>
                <a:gd name="T6" fmla="*/ 45 w 68"/>
                <a:gd name="T7" fmla="*/ 71 h 74"/>
                <a:gd name="T8" fmla="*/ 15 w 68"/>
                <a:gd name="T9" fmla="*/ 66 h 74"/>
                <a:gd name="T10" fmla="*/ 0 w 68"/>
                <a:gd name="T11" fmla="*/ 66 h 74"/>
                <a:gd name="T12" fmla="*/ 24 w 68"/>
                <a:gd name="T13" fmla="*/ 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8" h="74">
                  <a:moveTo>
                    <a:pt x="24" y="1"/>
                  </a:moveTo>
                  <a:cubicBezTo>
                    <a:pt x="29" y="1"/>
                    <a:pt x="34" y="0"/>
                    <a:pt x="38" y="0"/>
                  </a:cubicBezTo>
                  <a:cubicBezTo>
                    <a:pt x="31" y="28"/>
                    <a:pt x="35" y="32"/>
                    <a:pt x="61" y="35"/>
                  </a:cubicBezTo>
                  <a:cubicBezTo>
                    <a:pt x="68" y="57"/>
                    <a:pt x="60" y="74"/>
                    <a:pt x="45" y="71"/>
                  </a:cubicBezTo>
                  <a:cubicBezTo>
                    <a:pt x="35" y="69"/>
                    <a:pt x="24" y="67"/>
                    <a:pt x="15" y="66"/>
                  </a:cubicBezTo>
                  <a:cubicBezTo>
                    <a:pt x="11" y="65"/>
                    <a:pt x="5" y="66"/>
                    <a:pt x="0" y="66"/>
                  </a:cubicBezTo>
                  <a:cubicBezTo>
                    <a:pt x="8" y="43"/>
                    <a:pt x="16" y="21"/>
                    <a:pt x="24" y="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6" name="Freeform 185">
              <a:extLst>
                <a:ext uri="{FF2B5EF4-FFF2-40B4-BE49-F238E27FC236}">
                  <a16:creationId xmlns:a16="http://schemas.microsoft.com/office/drawing/2014/main" id="{EB0C1711-C2BA-4176-ADF1-D49920FE93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9683" y="2132088"/>
              <a:ext cx="32461" cy="50124"/>
            </a:xfrm>
            <a:custGeom>
              <a:avLst/>
              <a:gdLst>
                <a:gd name="T0" fmla="*/ 1 w 50"/>
                <a:gd name="T1" fmla="*/ 73 h 77"/>
                <a:gd name="T2" fmla="*/ 0 w 50"/>
                <a:gd name="T3" fmla="*/ 42 h 77"/>
                <a:gd name="T4" fmla="*/ 5 w 50"/>
                <a:gd name="T5" fmla="*/ 29 h 77"/>
                <a:gd name="T6" fmla="*/ 43 w 50"/>
                <a:gd name="T7" fmla="*/ 16 h 77"/>
                <a:gd name="T8" fmla="*/ 43 w 50"/>
                <a:gd name="T9" fmla="*/ 58 h 77"/>
                <a:gd name="T10" fmla="*/ 1 w 50"/>
                <a:gd name="T11" fmla="*/ 7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77">
                  <a:moveTo>
                    <a:pt x="1" y="73"/>
                  </a:moveTo>
                  <a:cubicBezTo>
                    <a:pt x="0" y="61"/>
                    <a:pt x="0" y="51"/>
                    <a:pt x="0" y="42"/>
                  </a:cubicBezTo>
                  <a:cubicBezTo>
                    <a:pt x="0" y="38"/>
                    <a:pt x="3" y="29"/>
                    <a:pt x="5" y="29"/>
                  </a:cubicBezTo>
                  <a:cubicBezTo>
                    <a:pt x="19" y="25"/>
                    <a:pt x="27" y="0"/>
                    <a:pt x="43" y="16"/>
                  </a:cubicBezTo>
                  <a:cubicBezTo>
                    <a:pt x="50" y="24"/>
                    <a:pt x="46" y="44"/>
                    <a:pt x="43" y="58"/>
                  </a:cubicBezTo>
                  <a:cubicBezTo>
                    <a:pt x="39" y="69"/>
                    <a:pt x="9" y="77"/>
                    <a:pt x="1" y="7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27" name="Rectangle 186">
            <a:extLst>
              <a:ext uri="{FF2B5EF4-FFF2-40B4-BE49-F238E27FC236}">
                <a16:creationId xmlns:a16="http://schemas.microsoft.com/office/drawing/2014/main" id="{E532F879-A24E-4E55-A048-9C5D4ED4C0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6683" y="2632368"/>
            <a:ext cx="1943726" cy="563772"/>
          </a:xfrm>
          <a:prstGeom prst="rect">
            <a:avLst/>
          </a:prstGeom>
          <a:solidFill>
            <a:srgbClr val="137B94">
              <a:alpha val="90000"/>
            </a:srgb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500">
              <a:solidFill>
                <a:srgbClr val="4BA1D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28" name="TextBox 227">
                <a:extLst>
                  <a:ext uri="{FF2B5EF4-FFF2-40B4-BE49-F238E27FC236}">
                    <a16:creationId xmlns:a16="http://schemas.microsoft.com/office/drawing/2014/main" id="{31FC727A-CD0C-406D-B05D-7F92E93A9EA2}"/>
                  </a:ext>
                </a:extLst>
              </p:cNvPr>
              <p:cNvSpPr txBox="1"/>
              <p:nvPr/>
            </p:nvSpPr>
            <p:spPr>
              <a:xfrm>
                <a:off x="4950690" y="2675588"/>
                <a:ext cx="1905492" cy="4154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14:m>
                  <m:oMath xmlns:m="http://schemas.openxmlformats.org/officeDocument/2006/math">
                    <m:f>
                      <m:fPr>
                        <m:type m:val="skw"/>
                        <m:ctrlPr>
                          <a:rPr lang="en-US" sz="900" b="1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900" b="1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num>
                      <m:den>
                        <m:r>
                          <a:rPr lang="en-US" sz="900" b="1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𝟑</m:t>
                        </m:r>
                      </m:den>
                    </m:f>
                  </m:oMath>
                </a14:m>
                <a:r>
                  <a:rPr lang="en-US" sz="9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of all shoppers &amp;</a:t>
                </a:r>
                <a:r>
                  <a:rPr lang="en-US" sz="9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type m:val="skw"/>
                        <m:ctrlPr>
                          <a:rPr lang="en-US" sz="900" b="1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900" b="1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</m:num>
                      <m:den>
                        <m:r>
                          <a:rPr lang="en-US" sz="900" b="1" i="1" dirty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𝟐</m:t>
                        </m:r>
                      </m:den>
                    </m:f>
                  </m:oMath>
                </a14:m>
                <a:r>
                  <a:rPr lang="en-US" sz="9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sz="9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f millennials </a:t>
                </a:r>
              </a:p>
              <a:p>
                <a:pPr algn="ctr"/>
                <a:r>
                  <a:rPr lang="en-US" sz="900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ay their purchases are influenced by </a:t>
                </a:r>
                <a:r>
                  <a:rPr lang="en-US" sz="900" b="1" dirty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OCIAL MEDIA</a:t>
                </a:r>
              </a:p>
            </p:txBody>
          </p:sp>
        </mc:Choice>
        <mc:Fallback xmlns="">
          <p:sp>
            <p:nvSpPr>
              <p:cNvPr id="228" name="TextBox 227">
                <a:extLst>
                  <a:ext uri="{FF2B5EF4-FFF2-40B4-BE49-F238E27FC236}">
                    <a16:creationId xmlns:a16="http://schemas.microsoft.com/office/drawing/2014/main" id="{31FC727A-CD0C-406D-B05D-7F92E93A9EA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50690" y="2675588"/>
                <a:ext cx="1905492" cy="415498"/>
              </a:xfrm>
              <a:prstGeom prst="rect">
                <a:avLst/>
              </a:prstGeom>
              <a:blipFill>
                <a:blip r:embed="rId9"/>
                <a:stretch>
                  <a:fillRect l="-5112" t="-57353" r="-1597" b="-1911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249" name="Graphic 248">
            <a:extLst>
              <a:ext uri="{FF2B5EF4-FFF2-40B4-BE49-F238E27FC236}">
                <a16:creationId xmlns:a16="http://schemas.microsoft.com/office/drawing/2014/main" id="{373B3A07-7B78-4FA1-82D3-0357E730E33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915750" y="3568020"/>
            <a:ext cx="377240" cy="387880"/>
          </a:xfrm>
          <a:prstGeom prst="rect">
            <a:avLst/>
          </a:prstGeom>
        </p:spPr>
      </p:pic>
      <p:sp>
        <p:nvSpPr>
          <p:cNvPr id="250" name="TextBox 249">
            <a:extLst>
              <a:ext uri="{FF2B5EF4-FFF2-40B4-BE49-F238E27FC236}">
                <a16:creationId xmlns:a16="http://schemas.microsoft.com/office/drawing/2014/main" id="{42B9226C-5CFF-4D99-8A3E-518B88A3732C}"/>
              </a:ext>
            </a:extLst>
          </p:cNvPr>
          <p:cNvSpPr txBox="1"/>
          <p:nvPr/>
        </p:nvSpPr>
        <p:spPr>
          <a:xfrm>
            <a:off x="1947296" y="3706515"/>
            <a:ext cx="27225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3%</a:t>
            </a:r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35D74FEE-8B8C-4D5F-B956-A6574A80BBB3}"/>
              </a:ext>
            </a:extLst>
          </p:cNvPr>
          <p:cNvSpPr/>
          <p:nvPr/>
        </p:nvSpPr>
        <p:spPr>
          <a:xfrm>
            <a:off x="2262806" y="3715115"/>
            <a:ext cx="1330242" cy="271562"/>
          </a:xfrm>
          <a:custGeom>
            <a:avLst/>
            <a:gdLst>
              <a:gd name="connsiteX0" fmla="*/ 0 w 2036314"/>
              <a:gd name="connsiteY0" fmla="*/ 0 h 419405"/>
              <a:gd name="connsiteX1" fmla="*/ 2036314 w 2036314"/>
              <a:gd name="connsiteY1" fmla="*/ 0 h 419405"/>
              <a:gd name="connsiteX2" fmla="*/ 2036314 w 2036314"/>
              <a:gd name="connsiteY2" fmla="*/ 419405 h 419405"/>
              <a:gd name="connsiteX3" fmla="*/ 0 w 2036314"/>
              <a:gd name="connsiteY3" fmla="*/ 419405 h 419405"/>
              <a:gd name="connsiteX4" fmla="*/ 0 w 2036314"/>
              <a:gd name="connsiteY4" fmla="*/ 0 h 419405"/>
              <a:gd name="connsiteX0" fmla="*/ 68580 w 2104894"/>
              <a:gd name="connsiteY0" fmla="*/ 0 h 457505"/>
              <a:gd name="connsiteX1" fmla="*/ 2104894 w 2104894"/>
              <a:gd name="connsiteY1" fmla="*/ 0 h 457505"/>
              <a:gd name="connsiteX2" fmla="*/ 2104894 w 2104894"/>
              <a:gd name="connsiteY2" fmla="*/ 419405 h 457505"/>
              <a:gd name="connsiteX3" fmla="*/ 0 w 2104894"/>
              <a:gd name="connsiteY3" fmla="*/ 457505 h 457505"/>
              <a:gd name="connsiteX4" fmla="*/ 68580 w 2104894"/>
              <a:gd name="connsiteY4" fmla="*/ 0 h 457505"/>
              <a:gd name="connsiteX0" fmla="*/ 121920 w 2104894"/>
              <a:gd name="connsiteY0" fmla="*/ 7620 h 457505"/>
              <a:gd name="connsiteX1" fmla="*/ 2104894 w 2104894"/>
              <a:gd name="connsiteY1" fmla="*/ 0 h 457505"/>
              <a:gd name="connsiteX2" fmla="*/ 2104894 w 2104894"/>
              <a:gd name="connsiteY2" fmla="*/ 419405 h 457505"/>
              <a:gd name="connsiteX3" fmla="*/ 0 w 2104894"/>
              <a:gd name="connsiteY3" fmla="*/ 457505 h 457505"/>
              <a:gd name="connsiteX4" fmla="*/ 121920 w 2104894"/>
              <a:gd name="connsiteY4" fmla="*/ 7620 h 457505"/>
              <a:gd name="connsiteX0" fmla="*/ 121920 w 2104894"/>
              <a:gd name="connsiteY0" fmla="*/ 7620 h 465125"/>
              <a:gd name="connsiteX1" fmla="*/ 2104894 w 2104894"/>
              <a:gd name="connsiteY1" fmla="*/ 0 h 465125"/>
              <a:gd name="connsiteX2" fmla="*/ 2104894 w 2104894"/>
              <a:gd name="connsiteY2" fmla="*/ 465125 h 465125"/>
              <a:gd name="connsiteX3" fmla="*/ 0 w 2104894"/>
              <a:gd name="connsiteY3" fmla="*/ 457505 h 465125"/>
              <a:gd name="connsiteX4" fmla="*/ 121920 w 2104894"/>
              <a:gd name="connsiteY4" fmla="*/ 7620 h 465125"/>
              <a:gd name="connsiteX0" fmla="*/ 83820 w 2104894"/>
              <a:gd name="connsiteY0" fmla="*/ 0 h 465125"/>
              <a:gd name="connsiteX1" fmla="*/ 2104894 w 2104894"/>
              <a:gd name="connsiteY1" fmla="*/ 0 h 465125"/>
              <a:gd name="connsiteX2" fmla="*/ 2104894 w 2104894"/>
              <a:gd name="connsiteY2" fmla="*/ 465125 h 465125"/>
              <a:gd name="connsiteX3" fmla="*/ 0 w 2104894"/>
              <a:gd name="connsiteY3" fmla="*/ 457505 h 465125"/>
              <a:gd name="connsiteX4" fmla="*/ 83820 w 2104894"/>
              <a:gd name="connsiteY4" fmla="*/ 0 h 46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894" h="465125">
                <a:moveTo>
                  <a:pt x="83820" y="0"/>
                </a:moveTo>
                <a:lnTo>
                  <a:pt x="2104894" y="0"/>
                </a:lnTo>
                <a:lnTo>
                  <a:pt x="2104894" y="465125"/>
                </a:lnTo>
                <a:lnTo>
                  <a:pt x="0" y="457505"/>
                </a:lnTo>
                <a:lnTo>
                  <a:pt x="83820" y="0"/>
                </a:lnTo>
                <a:close/>
              </a:path>
            </a:pathLst>
          </a:custGeom>
          <a:solidFill>
            <a:srgbClr val="08B2F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2" name="TextBox 251">
            <a:extLst>
              <a:ext uri="{FF2B5EF4-FFF2-40B4-BE49-F238E27FC236}">
                <a16:creationId xmlns:a16="http://schemas.microsoft.com/office/drawing/2014/main" id="{3F7F8BC5-2B9F-4D8B-943E-ED97B051BD84}"/>
              </a:ext>
            </a:extLst>
          </p:cNvPr>
          <p:cNvSpPr txBox="1"/>
          <p:nvPr/>
        </p:nvSpPr>
        <p:spPr>
          <a:xfrm>
            <a:off x="2322512" y="3732537"/>
            <a:ext cx="121743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 online shoppers take action to qualify for free shipping</a:t>
            </a:r>
          </a:p>
        </p:txBody>
      </p:sp>
      <p:sp>
        <p:nvSpPr>
          <p:cNvPr id="254" name="Rectangle 250">
            <a:extLst>
              <a:ext uri="{FF2B5EF4-FFF2-40B4-BE49-F238E27FC236}">
                <a16:creationId xmlns:a16="http://schemas.microsoft.com/office/drawing/2014/main" id="{A8391EAD-A594-4947-98A7-BEA2295A6280}"/>
              </a:ext>
            </a:extLst>
          </p:cNvPr>
          <p:cNvSpPr/>
          <p:nvPr/>
        </p:nvSpPr>
        <p:spPr>
          <a:xfrm>
            <a:off x="2307946" y="4089641"/>
            <a:ext cx="1284304" cy="185565"/>
          </a:xfrm>
          <a:custGeom>
            <a:avLst/>
            <a:gdLst>
              <a:gd name="connsiteX0" fmla="*/ 0 w 2036314"/>
              <a:gd name="connsiteY0" fmla="*/ 0 h 419405"/>
              <a:gd name="connsiteX1" fmla="*/ 2036314 w 2036314"/>
              <a:gd name="connsiteY1" fmla="*/ 0 h 419405"/>
              <a:gd name="connsiteX2" fmla="*/ 2036314 w 2036314"/>
              <a:gd name="connsiteY2" fmla="*/ 419405 h 419405"/>
              <a:gd name="connsiteX3" fmla="*/ 0 w 2036314"/>
              <a:gd name="connsiteY3" fmla="*/ 419405 h 419405"/>
              <a:gd name="connsiteX4" fmla="*/ 0 w 2036314"/>
              <a:gd name="connsiteY4" fmla="*/ 0 h 419405"/>
              <a:gd name="connsiteX0" fmla="*/ 68580 w 2104894"/>
              <a:gd name="connsiteY0" fmla="*/ 0 h 457505"/>
              <a:gd name="connsiteX1" fmla="*/ 2104894 w 2104894"/>
              <a:gd name="connsiteY1" fmla="*/ 0 h 457505"/>
              <a:gd name="connsiteX2" fmla="*/ 2104894 w 2104894"/>
              <a:gd name="connsiteY2" fmla="*/ 419405 h 457505"/>
              <a:gd name="connsiteX3" fmla="*/ 0 w 2104894"/>
              <a:gd name="connsiteY3" fmla="*/ 457505 h 457505"/>
              <a:gd name="connsiteX4" fmla="*/ 68580 w 2104894"/>
              <a:gd name="connsiteY4" fmla="*/ 0 h 457505"/>
              <a:gd name="connsiteX0" fmla="*/ 121920 w 2104894"/>
              <a:gd name="connsiteY0" fmla="*/ 7620 h 457505"/>
              <a:gd name="connsiteX1" fmla="*/ 2104894 w 2104894"/>
              <a:gd name="connsiteY1" fmla="*/ 0 h 457505"/>
              <a:gd name="connsiteX2" fmla="*/ 2104894 w 2104894"/>
              <a:gd name="connsiteY2" fmla="*/ 419405 h 457505"/>
              <a:gd name="connsiteX3" fmla="*/ 0 w 2104894"/>
              <a:gd name="connsiteY3" fmla="*/ 457505 h 457505"/>
              <a:gd name="connsiteX4" fmla="*/ 121920 w 2104894"/>
              <a:gd name="connsiteY4" fmla="*/ 7620 h 457505"/>
              <a:gd name="connsiteX0" fmla="*/ 121920 w 2104894"/>
              <a:gd name="connsiteY0" fmla="*/ 7620 h 465125"/>
              <a:gd name="connsiteX1" fmla="*/ 2104894 w 2104894"/>
              <a:gd name="connsiteY1" fmla="*/ 0 h 465125"/>
              <a:gd name="connsiteX2" fmla="*/ 2104894 w 2104894"/>
              <a:gd name="connsiteY2" fmla="*/ 465125 h 465125"/>
              <a:gd name="connsiteX3" fmla="*/ 0 w 2104894"/>
              <a:gd name="connsiteY3" fmla="*/ 457505 h 465125"/>
              <a:gd name="connsiteX4" fmla="*/ 121920 w 2104894"/>
              <a:gd name="connsiteY4" fmla="*/ 7620 h 465125"/>
              <a:gd name="connsiteX0" fmla="*/ 83820 w 2104894"/>
              <a:gd name="connsiteY0" fmla="*/ 0 h 465125"/>
              <a:gd name="connsiteX1" fmla="*/ 2104894 w 2104894"/>
              <a:gd name="connsiteY1" fmla="*/ 0 h 465125"/>
              <a:gd name="connsiteX2" fmla="*/ 2104894 w 2104894"/>
              <a:gd name="connsiteY2" fmla="*/ 465125 h 465125"/>
              <a:gd name="connsiteX3" fmla="*/ 0 w 2104894"/>
              <a:gd name="connsiteY3" fmla="*/ 457505 h 465125"/>
              <a:gd name="connsiteX4" fmla="*/ 83820 w 2104894"/>
              <a:gd name="connsiteY4" fmla="*/ 0 h 465125"/>
              <a:gd name="connsiteX0" fmla="*/ 66813 w 2104894"/>
              <a:gd name="connsiteY0" fmla="*/ 0 h 465125"/>
              <a:gd name="connsiteX1" fmla="*/ 2104894 w 2104894"/>
              <a:gd name="connsiteY1" fmla="*/ 0 h 465125"/>
              <a:gd name="connsiteX2" fmla="*/ 2104894 w 2104894"/>
              <a:gd name="connsiteY2" fmla="*/ 465125 h 465125"/>
              <a:gd name="connsiteX3" fmla="*/ 0 w 2104894"/>
              <a:gd name="connsiteY3" fmla="*/ 457505 h 465125"/>
              <a:gd name="connsiteX4" fmla="*/ 66813 w 2104894"/>
              <a:gd name="connsiteY4" fmla="*/ 0 h 46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894" h="465125">
                <a:moveTo>
                  <a:pt x="66813" y="0"/>
                </a:moveTo>
                <a:lnTo>
                  <a:pt x="2104894" y="0"/>
                </a:lnTo>
                <a:lnTo>
                  <a:pt x="2104894" y="465125"/>
                </a:lnTo>
                <a:lnTo>
                  <a:pt x="0" y="457505"/>
                </a:lnTo>
                <a:lnTo>
                  <a:pt x="66813" y="0"/>
                </a:lnTo>
                <a:close/>
              </a:path>
            </a:pathLst>
          </a:custGeom>
          <a:solidFill>
            <a:srgbClr val="6ED5FA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F62AB40D-EFFB-4186-A3C8-06A71BB7F456}"/>
              </a:ext>
            </a:extLst>
          </p:cNvPr>
          <p:cNvSpPr txBox="1"/>
          <p:nvPr/>
        </p:nvSpPr>
        <p:spPr>
          <a:xfrm>
            <a:off x="2380863" y="4132042"/>
            <a:ext cx="1163298" cy="10772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added to cart to qualify</a:t>
            </a:r>
          </a:p>
        </p:txBody>
      </p:sp>
      <p:grpSp>
        <p:nvGrpSpPr>
          <p:cNvPr id="262" name="Group 261">
            <a:extLst>
              <a:ext uri="{FF2B5EF4-FFF2-40B4-BE49-F238E27FC236}">
                <a16:creationId xmlns:a16="http://schemas.microsoft.com/office/drawing/2014/main" id="{7F68E8A6-DE69-4E5C-A55D-EEE2CECC0FCB}"/>
              </a:ext>
            </a:extLst>
          </p:cNvPr>
          <p:cNvGrpSpPr/>
          <p:nvPr/>
        </p:nvGrpSpPr>
        <p:grpSpPr>
          <a:xfrm>
            <a:off x="1862660" y="4011034"/>
            <a:ext cx="473870" cy="348543"/>
            <a:chOff x="12560300" y="4008438"/>
            <a:chExt cx="1206500" cy="887412"/>
          </a:xfrm>
          <a:solidFill>
            <a:srgbClr val="6ED5FA"/>
          </a:solidFill>
        </p:grpSpPr>
        <p:sp>
          <p:nvSpPr>
            <p:cNvPr id="258" name="Freeform 7">
              <a:extLst>
                <a:ext uri="{FF2B5EF4-FFF2-40B4-BE49-F238E27FC236}">
                  <a16:creationId xmlns:a16="http://schemas.microsoft.com/office/drawing/2014/main" id="{18A6383B-CB02-4DDA-AC62-1E7901529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60300" y="4008438"/>
              <a:ext cx="1047750" cy="722313"/>
            </a:xfrm>
            <a:custGeom>
              <a:avLst/>
              <a:gdLst>
                <a:gd name="T0" fmla="*/ 226 w 520"/>
                <a:gd name="T1" fmla="*/ 352 h 358"/>
                <a:gd name="T2" fmla="*/ 233 w 520"/>
                <a:gd name="T3" fmla="*/ 357 h 358"/>
                <a:gd name="T4" fmla="*/ 513 w 520"/>
                <a:gd name="T5" fmla="*/ 358 h 358"/>
                <a:gd name="T6" fmla="*/ 513 w 520"/>
                <a:gd name="T7" fmla="*/ 358 h 358"/>
                <a:gd name="T8" fmla="*/ 520 w 520"/>
                <a:gd name="T9" fmla="*/ 350 h 358"/>
                <a:gd name="T10" fmla="*/ 513 w 520"/>
                <a:gd name="T11" fmla="*/ 342 h 358"/>
                <a:gd name="T12" fmla="*/ 238 w 520"/>
                <a:gd name="T13" fmla="*/ 342 h 358"/>
                <a:gd name="T14" fmla="*/ 208 w 520"/>
                <a:gd name="T15" fmla="*/ 245 h 358"/>
                <a:gd name="T16" fmla="*/ 192 w 520"/>
                <a:gd name="T17" fmla="*/ 191 h 358"/>
                <a:gd name="T18" fmla="*/ 177 w 520"/>
                <a:gd name="T19" fmla="*/ 141 h 358"/>
                <a:gd name="T20" fmla="*/ 139 w 520"/>
                <a:gd name="T21" fmla="*/ 19 h 358"/>
                <a:gd name="T22" fmla="*/ 132 w 520"/>
                <a:gd name="T23" fmla="*/ 14 h 358"/>
                <a:gd name="T24" fmla="*/ 117 w 520"/>
                <a:gd name="T25" fmla="*/ 14 h 358"/>
                <a:gd name="T26" fmla="*/ 100 w 520"/>
                <a:gd name="T27" fmla="*/ 0 h 358"/>
                <a:gd name="T28" fmla="*/ 17 w 520"/>
                <a:gd name="T29" fmla="*/ 0 h 358"/>
                <a:gd name="T30" fmla="*/ 0 w 520"/>
                <a:gd name="T31" fmla="*/ 16 h 358"/>
                <a:gd name="T32" fmla="*/ 0 w 520"/>
                <a:gd name="T33" fmla="*/ 26 h 358"/>
                <a:gd name="T34" fmla="*/ 17 w 520"/>
                <a:gd name="T35" fmla="*/ 43 h 358"/>
                <a:gd name="T36" fmla="*/ 100 w 520"/>
                <a:gd name="T37" fmla="*/ 43 h 358"/>
                <a:gd name="T38" fmla="*/ 117 w 520"/>
                <a:gd name="T39" fmla="*/ 29 h 358"/>
                <a:gd name="T40" fmla="*/ 126 w 520"/>
                <a:gd name="T41" fmla="*/ 29 h 358"/>
                <a:gd name="T42" fmla="*/ 162 w 520"/>
                <a:gd name="T43" fmla="*/ 146 h 358"/>
                <a:gd name="T44" fmla="*/ 162 w 520"/>
                <a:gd name="T45" fmla="*/ 146 h 358"/>
                <a:gd name="T46" fmla="*/ 177 w 520"/>
                <a:gd name="T47" fmla="*/ 196 h 358"/>
                <a:gd name="T48" fmla="*/ 177 w 520"/>
                <a:gd name="T49" fmla="*/ 196 h 358"/>
                <a:gd name="T50" fmla="*/ 194 w 520"/>
                <a:gd name="T51" fmla="*/ 250 h 358"/>
                <a:gd name="T52" fmla="*/ 226 w 520"/>
                <a:gd name="T53" fmla="*/ 352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20" h="358">
                  <a:moveTo>
                    <a:pt x="226" y="352"/>
                  </a:moveTo>
                  <a:cubicBezTo>
                    <a:pt x="227" y="355"/>
                    <a:pt x="230" y="357"/>
                    <a:pt x="233" y="357"/>
                  </a:cubicBezTo>
                  <a:cubicBezTo>
                    <a:pt x="324" y="357"/>
                    <a:pt x="419" y="357"/>
                    <a:pt x="513" y="358"/>
                  </a:cubicBezTo>
                  <a:cubicBezTo>
                    <a:pt x="513" y="358"/>
                    <a:pt x="513" y="358"/>
                    <a:pt x="513" y="358"/>
                  </a:cubicBezTo>
                  <a:cubicBezTo>
                    <a:pt x="517" y="358"/>
                    <a:pt x="520" y="354"/>
                    <a:pt x="520" y="350"/>
                  </a:cubicBezTo>
                  <a:cubicBezTo>
                    <a:pt x="520" y="346"/>
                    <a:pt x="517" y="342"/>
                    <a:pt x="513" y="342"/>
                  </a:cubicBezTo>
                  <a:cubicBezTo>
                    <a:pt x="421" y="342"/>
                    <a:pt x="328" y="342"/>
                    <a:pt x="238" y="342"/>
                  </a:cubicBezTo>
                  <a:cubicBezTo>
                    <a:pt x="228" y="310"/>
                    <a:pt x="218" y="278"/>
                    <a:pt x="208" y="245"/>
                  </a:cubicBezTo>
                  <a:cubicBezTo>
                    <a:pt x="203" y="228"/>
                    <a:pt x="198" y="210"/>
                    <a:pt x="192" y="191"/>
                  </a:cubicBezTo>
                  <a:cubicBezTo>
                    <a:pt x="187" y="175"/>
                    <a:pt x="183" y="160"/>
                    <a:pt x="177" y="141"/>
                  </a:cubicBezTo>
                  <a:cubicBezTo>
                    <a:pt x="164" y="100"/>
                    <a:pt x="139" y="20"/>
                    <a:pt x="139" y="19"/>
                  </a:cubicBezTo>
                  <a:cubicBezTo>
                    <a:pt x="138" y="16"/>
                    <a:pt x="135" y="14"/>
                    <a:pt x="132" y="14"/>
                  </a:cubicBezTo>
                  <a:cubicBezTo>
                    <a:pt x="117" y="14"/>
                    <a:pt x="117" y="14"/>
                    <a:pt x="117" y="14"/>
                  </a:cubicBezTo>
                  <a:cubicBezTo>
                    <a:pt x="116" y="6"/>
                    <a:pt x="108" y="0"/>
                    <a:pt x="100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5"/>
                    <a:pt x="8" y="43"/>
                    <a:pt x="17" y="43"/>
                  </a:cubicBezTo>
                  <a:cubicBezTo>
                    <a:pt x="100" y="43"/>
                    <a:pt x="100" y="43"/>
                    <a:pt x="100" y="43"/>
                  </a:cubicBezTo>
                  <a:cubicBezTo>
                    <a:pt x="109" y="43"/>
                    <a:pt x="116" y="37"/>
                    <a:pt x="117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32" y="48"/>
                    <a:pt x="151" y="111"/>
                    <a:pt x="162" y="146"/>
                  </a:cubicBezTo>
                  <a:cubicBezTo>
                    <a:pt x="162" y="146"/>
                    <a:pt x="162" y="146"/>
                    <a:pt x="162" y="146"/>
                  </a:cubicBezTo>
                  <a:cubicBezTo>
                    <a:pt x="168" y="165"/>
                    <a:pt x="173" y="180"/>
                    <a:pt x="177" y="196"/>
                  </a:cubicBezTo>
                  <a:cubicBezTo>
                    <a:pt x="177" y="196"/>
                    <a:pt x="177" y="196"/>
                    <a:pt x="177" y="196"/>
                  </a:cubicBezTo>
                  <a:cubicBezTo>
                    <a:pt x="183" y="214"/>
                    <a:pt x="188" y="232"/>
                    <a:pt x="194" y="250"/>
                  </a:cubicBezTo>
                  <a:cubicBezTo>
                    <a:pt x="204" y="283"/>
                    <a:pt x="214" y="318"/>
                    <a:pt x="226" y="3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9" name="Freeform 8">
              <a:extLst>
                <a:ext uri="{FF2B5EF4-FFF2-40B4-BE49-F238E27FC236}">
                  <a16:creationId xmlns:a16="http://schemas.microsoft.com/office/drawing/2014/main" id="{1C401881-785B-4BC2-B492-89D4C76C3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20663" y="4179888"/>
              <a:ext cx="846137" cy="493713"/>
            </a:xfrm>
            <a:custGeom>
              <a:avLst/>
              <a:gdLst>
                <a:gd name="T0" fmla="*/ 403 w 420"/>
                <a:gd name="T1" fmla="*/ 0 h 245"/>
                <a:gd name="T2" fmla="*/ 17 w 420"/>
                <a:gd name="T3" fmla="*/ 0 h 245"/>
                <a:gd name="T4" fmla="*/ 0 w 420"/>
                <a:gd name="T5" fmla="*/ 16 h 245"/>
                <a:gd name="T6" fmla="*/ 0 w 420"/>
                <a:gd name="T7" fmla="*/ 26 h 245"/>
                <a:gd name="T8" fmla="*/ 17 w 420"/>
                <a:gd name="T9" fmla="*/ 43 h 245"/>
                <a:gd name="T10" fmla="*/ 22 w 420"/>
                <a:gd name="T11" fmla="*/ 43 h 245"/>
                <a:gd name="T12" fmla="*/ 80 w 420"/>
                <a:gd name="T13" fmla="*/ 240 h 245"/>
                <a:gd name="T14" fmla="*/ 88 w 420"/>
                <a:gd name="T15" fmla="*/ 245 h 245"/>
                <a:gd name="T16" fmla="*/ 332 w 420"/>
                <a:gd name="T17" fmla="*/ 245 h 245"/>
                <a:gd name="T18" fmla="*/ 340 w 420"/>
                <a:gd name="T19" fmla="*/ 240 h 245"/>
                <a:gd name="T20" fmla="*/ 398 w 420"/>
                <a:gd name="T21" fmla="*/ 43 h 245"/>
                <a:gd name="T22" fmla="*/ 403 w 420"/>
                <a:gd name="T23" fmla="*/ 43 h 245"/>
                <a:gd name="T24" fmla="*/ 420 w 420"/>
                <a:gd name="T25" fmla="*/ 26 h 245"/>
                <a:gd name="T26" fmla="*/ 420 w 420"/>
                <a:gd name="T27" fmla="*/ 16 h 245"/>
                <a:gd name="T28" fmla="*/ 403 w 420"/>
                <a:gd name="T29" fmla="*/ 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245">
                  <a:moveTo>
                    <a:pt x="403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5"/>
                    <a:pt x="7" y="43"/>
                    <a:pt x="17" y="43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80" y="240"/>
                    <a:pt x="80" y="240"/>
                    <a:pt x="80" y="240"/>
                  </a:cubicBezTo>
                  <a:cubicBezTo>
                    <a:pt x="81" y="243"/>
                    <a:pt x="84" y="245"/>
                    <a:pt x="88" y="245"/>
                  </a:cubicBezTo>
                  <a:cubicBezTo>
                    <a:pt x="332" y="245"/>
                    <a:pt x="332" y="245"/>
                    <a:pt x="332" y="245"/>
                  </a:cubicBezTo>
                  <a:cubicBezTo>
                    <a:pt x="336" y="245"/>
                    <a:pt x="339" y="243"/>
                    <a:pt x="340" y="240"/>
                  </a:cubicBezTo>
                  <a:cubicBezTo>
                    <a:pt x="398" y="43"/>
                    <a:pt x="398" y="43"/>
                    <a:pt x="398" y="43"/>
                  </a:cubicBezTo>
                  <a:cubicBezTo>
                    <a:pt x="403" y="43"/>
                    <a:pt x="403" y="43"/>
                    <a:pt x="403" y="43"/>
                  </a:cubicBezTo>
                  <a:cubicBezTo>
                    <a:pt x="413" y="43"/>
                    <a:pt x="420" y="35"/>
                    <a:pt x="420" y="26"/>
                  </a:cubicBezTo>
                  <a:cubicBezTo>
                    <a:pt x="420" y="16"/>
                    <a:pt x="420" y="16"/>
                    <a:pt x="420" y="16"/>
                  </a:cubicBezTo>
                  <a:cubicBezTo>
                    <a:pt x="420" y="7"/>
                    <a:pt x="413" y="0"/>
                    <a:pt x="40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0" name="Oval 9">
              <a:extLst>
                <a:ext uri="{FF2B5EF4-FFF2-40B4-BE49-F238E27FC236}">
                  <a16:creationId xmlns:a16="http://schemas.microsoft.com/office/drawing/2014/main" id="{39F55A9C-7EC7-421B-B00F-6AB561B85F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49238" y="4733925"/>
              <a:ext cx="158750" cy="1619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61" name="Oval 10">
              <a:extLst>
                <a:ext uri="{FF2B5EF4-FFF2-40B4-BE49-F238E27FC236}">
                  <a16:creationId xmlns:a16="http://schemas.microsoft.com/office/drawing/2014/main" id="{323DF1D0-70A2-48ED-86A3-B738265391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20738" y="4733925"/>
              <a:ext cx="161925" cy="1619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70" name="Oval 15">
            <a:extLst>
              <a:ext uri="{FF2B5EF4-FFF2-40B4-BE49-F238E27FC236}">
                <a16:creationId xmlns:a16="http://schemas.microsoft.com/office/drawing/2014/main" id="{2E7CFD92-3C5B-415E-A7A9-E8A2941F3B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42302" y="4130407"/>
            <a:ext cx="241894" cy="241214"/>
          </a:xfrm>
          <a:prstGeom prst="ellipse">
            <a:avLst/>
          </a:prstGeom>
          <a:solidFill>
            <a:srgbClr val="08B2F0">
              <a:alpha val="64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1" name="Oval 16">
            <a:extLst>
              <a:ext uri="{FF2B5EF4-FFF2-40B4-BE49-F238E27FC236}">
                <a16:creationId xmlns:a16="http://schemas.microsoft.com/office/drawing/2014/main" id="{016CD655-487E-4E1F-B12C-DA9532D774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9531" y="4206956"/>
            <a:ext cx="87436" cy="8845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2" name="Oval 17">
            <a:extLst>
              <a:ext uri="{FF2B5EF4-FFF2-40B4-BE49-F238E27FC236}">
                <a16:creationId xmlns:a16="http://schemas.microsoft.com/office/drawing/2014/main" id="{9813BC47-7AF2-49B8-91CB-B1C158E176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14254" y="4130407"/>
            <a:ext cx="241894" cy="241214"/>
          </a:xfrm>
          <a:prstGeom prst="ellipse">
            <a:avLst/>
          </a:prstGeom>
          <a:solidFill>
            <a:srgbClr val="08B2F0">
              <a:alpha val="64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3" name="Oval 18">
            <a:extLst>
              <a:ext uri="{FF2B5EF4-FFF2-40B4-BE49-F238E27FC236}">
                <a16:creationId xmlns:a16="http://schemas.microsoft.com/office/drawing/2014/main" id="{62373E8B-1BCB-4C0B-86D4-7EBAFEBED0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91483" y="4206956"/>
            <a:ext cx="87436" cy="88456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4" name="Freeform 19">
            <a:extLst>
              <a:ext uri="{FF2B5EF4-FFF2-40B4-BE49-F238E27FC236}">
                <a16:creationId xmlns:a16="http://schemas.microsoft.com/office/drawing/2014/main" id="{A7C9BD7F-3ABA-4C6A-97C0-7240CA8C8A4D}"/>
              </a:ext>
            </a:extLst>
          </p:cNvPr>
          <p:cNvSpPr>
            <a:spLocks/>
          </p:cNvSpPr>
          <p:nvPr/>
        </p:nvSpPr>
        <p:spPr bwMode="auto">
          <a:xfrm>
            <a:off x="3725243" y="3647638"/>
            <a:ext cx="1447964" cy="627021"/>
          </a:xfrm>
          <a:custGeom>
            <a:avLst/>
            <a:gdLst>
              <a:gd name="T0" fmla="*/ 2038 w 2048"/>
              <a:gd name="T1" fmla="*/ 659 h 887"/>
              <a:gd name="T2" fmla="*/ 2014 w 2048"/>
              <a:gd name="T3" fmla="*/ 634 h 887"/>
              <a:gd name="T4" fmla="*/ 2014 w 2048"/>
              <a:gd name="T5" fmla="*/ 614 h 887"/>
              <a:gd name="T6" fmla="*/ 2014 w 2048"/>
              <a:gd name="T7" fmla="*/ 580 h 887"/>
              <a:gd name="T8" fmla="*/ 2014 w 2048"/>
              <a:gd name="T9" fmla="*/ 512 h 887"/>
              <a:gd name="T10" fmla="*/ 2014 w 2048"/>
              <a:gd name="T11" fmla="*/ 478 h 887"/>
              <a:gd name="T12" fmla="*/ 2014 w 2048"/>
              <a:gd name="T13" fmla="*/ 34 h 887"/>
              <a:gd name="T14" fmla="*/ 1980 w 2048"/>
              <a:gd name="T15" fmla="*/ 0 h 887"/>
              <a:gd name="T16" fmla="*/ 444 w 2048"/>
              <a:gd name="T17" fmla="*/ 0 h 887"/>
              <a:gd name="T18" fmla="*/ 416 w 2048"/>
              <a:gd name="T19" fmla="*/ 15 h 887"/>
              <a:gd name="T20" fmla="*/ 180 w 2048"/>
              <a:gd name="T21" fmla="*/ 352 h 887"/>
              <a:gd name="T22" fmla="*/ 75 w 2048"/>
              <a:gd name="T23" fmla="*/ 478 h 887"/>
              <a:gd name="T24" fmla="*/ 49 w 2048"/>
              <a:gd name="T25" fmla="*/ 546 h 887"/>
              <a:gd name="T26" fmla="*/ 35 w 2048"/>
              <a:gd name="T27" fmla="*/ 634 h 887"/>
              <a:gd name="T28" fmla="*/ 10 w 2048"/>
              <a:gd name="T29" fmla="*/ 659 h 887"/>
              <a:gd name="T30" fmla="*/ 0 w 2048"/>
              <a:gd name="T31" fmla="*/ 683 h 887"/>
              <a:gd name="T32" fmla="*/ 0 w 2048"/>
              <a:gd name="T33" fmla="*/ 751 h 887"/>
              <a:gd name="T34" fmla="*/ 10 w 2048"/>
              <a:gd name="T35" fmla="*/ 775 h 887"/>
              <a:gd name="T36" fmla="*/ 34 w 2048"/>
              <a:gd name="T37" fmla="*/ 799 h 887"/>
              <a:gd name="T38" fmla="*/ 34 w 2048"/>
              <a:gd name="T39" fmla="*/ 853 h 887"/>
              <a:gd name="T40" fmla="*/ 68 w 2048"/>
              <a:gd name="T41" fmla="*/ 887 h 887"/>
              <a:gd name="T42" fmla="*/ 205 w 2048"/>
              <a:gd name="T43" fmla="*/ 887 h 887"/>
              <a:gd name="T44" fmla="*/ 239 w 2048"/>
              <a:gd name="T45" fmla="*/ 853 h 887"/>
              <a:gd name="T46" fmla="*/ 478 w 2048"/>
              <a:gd name="T47" fmla="*/ 614 h 887"/>
              <a:gd name="T48" fmla="*/ 717 w 2048"/>
              <a:gd name="T49" fmla="*/ 853 h 887"/>
              <a:gd name="T50" fmla="*/ 751 w 2048"/>
              <a:gd name="T51" fmla="*/ 887 h 887"/>
              <a:gd name="T52" fmla="*/ 1297 w 2048"/>
              <a:gd name="T53" fmla="*/ 887 h 887"/>
              <a:gd name="T54" fmla="*/ 1331 w 2048"/>
              <a:gd name="T55" fmla="*/ 853 h 887"/>
              <a:gd name="T56" fmla="*/ 1570 w 2048"/>
              <a:gd name="T57" fmla="*/ 614 h 887"/>
              <a:gd name="T58" fmla="*/ 1809 w 2048"/>
              <a:gd name="T59" fmla="*/ 853 h 887"/>
              <a:gd name="T60" fmla="*/ 1843 w 2048"/>
              <a:gd name="T61" fmla="*/ 887 h 887"/>
              <a:gd name="T62" fmla="*/ 1980 w 2048"/>
              <a:gd name="T63" fmla="*/ 887 h 887"/>
              <a:gd name="T64" fmla="*/ 2014 w 2048"/>
              <a:gd name="T65" fmla="*/ 853 h 887"/>
              <a:gd name="T66" fmla="*/ 2014 w 2048"/>
              <a:gd name="T67" fmla="*/ 799 h 887"/>
              <a:gd name="T68" fmla="*/ 2038 w 2048"/>
              <a:gd name="T69" fmla="*/ 775 h 887"/>
              <a:gd name="T70" fmla="*/ 2048 w 2048"/>
              <a:gd name="T71" fmla="*/ 751 h 887"/>
              <a:gd name="T72" fmla="*/ 2048 w 2048"/>
              <a:gd name="T73" fmla="*/ 683 h 887"/>
              <a:gd name="T74" fmla="*/ 2038 w 2048"/>
              <a:gd name="T75" fmla="*/ 659 h 8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048" h="887">
                <a:moveTo>
                  <a:pt x="2038" y="659"/>
                </a:moveTo>
                <a:cubicBezTo>
                  <a:pt x="2014" y="634"/>
                  <a:pt x="2014" y="634"/>
                  <a:pt x="2014" y="634"/>
                </a:cubicBezTo>
                <a:cubicBezTo>
                  <a:pt x="2014" y="614"/>
                  <a:pt x="2014" y="614"/>
                  <a:pt x="2014" y="614"/>
                </a:cubicBezTo>
                <a:cubicBezTo>
                  <a:pt x="2014" y="580"/>
                  <a:pt x="2014" y="580"/>
                  <a:pt x="2014" y="580"/>
                </a:cubicBezTo>
                <a:cubicBezTo>
                  <a:pt x="2014" y="512"/>
                  <a:pt x="2014" y="512"/>
                  <a:pt x="2014" y="512"/>
                </a:cubicBezTo>
                <a:cubicBezTo>
                  <a:pt x="2014" y="478"/>
                  <a:pt x="2014" y="478"/>
                  <a:pt x="2014" y="478"/>
                </a:cubicBezTo>
                <a:cubicBezTo>
                  <a:pt x="2014" y="34"/>
                  <a:pt x="2014" y="34"/>
                  <a:pt x="2014" y="34"/>
                </a:cubicBezTo>
                <a:cubicBezTo>
                  <a:pt x="2014" y="15"/>
                  <a:pt x="1999" y="0"/>
                  <a:pt x="1980" y="0"/>
                </a:cubicBezTo>
                <a:cubicBezTo>
                  <a:pt x="444" y="0"/>
                  <a:pt x="444" y="0"/>
                  <a:pt x="444" y="0"/>
                </a:cubicBezTo>
                <a:cubicBezTo>
                  <a:pt x="433" y="0"/>
                  <a:pt x="422" y="5"/>
                  <a:pt x="416" y="15"/>
                </a:cubicBezTo>
                <a:cubicBezTo>
                  <a:pt x="180" y="352"/>
                  <a:pt x="180" y="352"/>
                  <a:pt x="180" y="352"/>
                </a:cubicBezTo>
                <a:cubicBezTo>
                  <a:pt x="140" y="385"/>
                  <a:pt x="103" y="424"/>
                  <a:pt x="75" y="478"/>
                </a:cubicBezTo>
                <a:cubicBezTo>
                  <a:pt x="49" y="546"/>
                  <a:pt x="49" y="546"/>
                  <a:pt x="49" y="546"/>
                </a:cubicBezTo>
                <a:cubicBezTo>
                  <a:pt x="42" y="572"/>
                  <a:pt x="37" y="601"/>
                  <a:pt x="35" y="634"/>
                </a:cubicBezTo>
                <a:cubicBezTo>
                  <a:pt x="10" y="659"/>
                  <a:pt x="10" y="659"/>
                  <a:pt x="10" y="659"/>
                </a:cubicBezTo>
                <a:cubicBezTo>
                  <a:pt x="4" y="665"/>
                  <a:pt x="0" y="674"/>
                  <a:pt x="0" y="683"/>
                </a:cubicBezTo>
                <a:cubicBezTo>
                  <a:pt x="0" y="751"/>
                  <a:pt x="0" y="751"/>
                  <a:pt x="0" y="751"/>
                </a:cubicBezTo>
                <a:cubicBezTo>
                  <a:pt x="0" y="760"/>
                  <a:pt x="4" y="769"/>
                  <a:pt x="10" y="775"/>
                </a:cubicBezTo>
                <a:cubicBezTo>
                  <a:pt x="34" y="799"/>
                  <a:pt x="34" y="799"/>
                  <a:pt x="34" y="799"/>
                </a:cubicBezTo>
                <a:cubicBezTo>
                  <a:pt x="34" y="853"/>
                  <a:pt x="34" y="853"/>
                  <a:pt x="34" y="853"/>
                </a:cubicBezTo>
                <a:cubicBezTo>
                  <a:pt x="34" y="872"/>
                  <a:pt x="49" y="887"/>
                  <a:pt x="68" y="887"/>
                </a:cubicBezTo>
                <a:cubicBezTo>
                  <a:pt x="205" y="887"/>
                  <a:pt x="205" y="887"/>
                  <a:pt x="205" y="887"/>
                </a:cubicBezTo>
                <a:cubicBezTo>
                  <a:pt x="224" y="887"/>
                  <a:pt x="239" y="872"/>
                  <a:pt x="239" y="853"/>
                </a:cubicBezTo>
                <a:cubicBezTo>
                  <a:pt x="239" y="722"/>
                  <a:pt x="346" y="614"/>
                  <a:pt x="478" y="614"/>
                </a:cubicBezTo>
                <a:cubicBezTo>
                  <a:pt x="610" y="614"/>
                  <a:pt x="717" y="722"/>
                  <a:pt x="717" y="853"/>
                </a:cubicBezTo>
                <a:cubicBezTo>
                  <a:pt x="717" y="872"/>
                  <a:pt x="732" y="887"/>
                  <a:pt x="751" y="887"/>
                </a:cubicBezTo>
                <a:cubicBezTo>
                  <a:pt x="1297" y="887"/>
                  <a:pt x="1297" y="887"/>
                  <a:pt x="1297" y="887"/>
                </a:cubicBezTo>
                <a:cubicBezTo>
                  <a:pt x="1316" y="887"/>
                  <a:pt x="1331" y="872"/>
                  <a:pt x="1331" y="853"/>
                </a:cubicBezTo>
                <a:cubicBezTo>
                  <a:pt x="1331" y="722"/>
                  <a:pt x="1438" y="614"/>
                  <a:pt x="1570" y="614"/>
                </a:cubicBezTo>
                <a:cubicBezTo>
                  <a:pt x="1702" y="614"/>
                  <a:pt x="1809" y="722"/>
                  <a:pt x="1809" y="853"/>
                </a:cubicBezTo>
                <a:cubicBezTo>
                  <a:pt x="1809" y="872"/>
                  <a:pt x="1824" y="887"/>
                  <a:pt x="1843" y="887"/>
                </a:cubicBezTo>
                <a:cubicBezTo>
                  <a:pt x="1980" y="887"/>
                  <a:pt x="1980" y="887"/>
                  <a:pt x="1980" y="887"/>
                </a:cubicBezTo>
                <a:cubicBezTo>
                  <a:pt x="1999" y="887"/>
                  <a:pt x="2014" y="872"/>
                  <a:pt x="2014" y="853"/>
                </a:cubicBezTo>
                <a:cubicBezTo>
                  <a:pt x="2014" y="799"/>
                  <a:pt x="2014" y="799"/>
                  <a:pt x="2014" y="799"/>
                </a:cubicBezTo>
                <a:cubicBezTo>
                  <a:pt x="2038" y="775"/>
                  <a:pt x="2038" y="775"/>
                  <a:pt x="2038" y="775"/>
                </a:cubicBezTo>
                <a:cubicBezTo>
                  <a:pt x="2044" y="769"/>
                  <a:pt x="2048" y="760"/>
                  <a:pt x="2048" y="751"/>
                </a:cubicBezTo>
                <a:cubicBezTo>
                  <a:pt x="2048" y="683"/>
                  <a:pt x="2048" y="683"/>
                  <a:pt x="2048" y="683"/>
                </a:cubicBezTo>
                <a:cubicBezTo>
                  <a:pt x="2048" y="674"/>
                  <a:pt x="2044" y="665"/>
                  <a:pt x="2038" y="659"/>
                </a:cubicBezTo>
                <a:close/>
              </a:path>
            </a:pathLst>
          </a:custGeom>
          <a:solidFill>
            <a:srgbClr val="08B2F0">
              <a:alpha val="74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8384204C-3444-45D4-B4CB-A3CA6EF9CFAA}"/>
              </a:ext>
            </a:extLst>
          </p:cNvPr>
          <p:cNvSpPr/>
          <p:nvPr/>
        </p:nvSpPr>
        <p:spPr>
          <a:xfrm>
            <a:off x="4002661" y="3617345"/>
            <a:ext cx="6367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5% </a:t>
            </a: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3AD9E7A1-4458-4EFA-923A-24DBF2906E35}"/>
              </a:ext>
            </a:extLst>
          </p:cNvPr>
          <p:cNvSpPr/>
          <p:nvPr/>
        </p:nvSpPr>
        <p:spPr>
          <a:xfrm>
            <a:off x="3855992" y="3852145"/>
            <a:ext cx="135667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re for delivery, but the majority expect express shipping options</a:t>
            </a:r>
            <a:endParaRPr 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1" name="Rectangle 410">
            <a:extLst>
              <a:ext uri="{FF2B5EF4-FFF2-40B4-BE49-F238E27FC236}">
                <a16:creationId xmlns:a16="http://schemas.microsoft.com/office/drawing/2014/main" id="{EB6F200D-94AE-4CC5-83D2-47CF02D5C622}"/>
              </a:ext>
            </a:extLst>
          </p:cNvPr>
          <p:cNvSpPr/>
          <p:nvPr/>
        </p:nvSpPr>
        <p:spPr>
          <a:xfrm>
            <a:off x="4477335" y="3665398"/>
            <a:ext cx="70152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 willing to </a:t>
            </a:r>
            <a:b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it 5 days or</a:t>
            </a:r>
            <a:endParaRPr lang="en-US" sz="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6924B6EA-AD16-46AE-9C69-BD3054F57B2A}"/>
              </a:ext>
            </a:extLst>
          </p:cNvPr>
          <p:cNvSpPr txBox="1"/>
          <p:nvPr/>
        </p:nvSpPr>
        <p:spPr>
          <a:xfrm>
            <a:off x="2055334" y="4111386"/>
            <a:ext cx="23349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8</a:t>
            </a: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285" name="AutoShape 23">
            <a:extLst>
              <a:ext uri="{FF2B5EF4-FFF2-40B4-BE49-F238E27FC236}">
                <a16:creationId xmlns:a16="http://schemas.microsoft.com/office/drawing/2014/main" id="{99A116EE-FEA9-4380-861E-F20C93C75659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915750" y="4408382"/>
            <a:ext cx="597282" cy="503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6" name="Freeform 25">
            <a:extLst>
              <a:ext uri="{FF2B5EF4-FFF2-40B4-BE49-F238E27FC236}">
                <a16:creationId xmlns:a16="http://schemas.microsoft.com/office/drawing/2014/main" id="{31D77ABD-C885-4AB2-9546-93E3C2668582}"/>
              </a:ext>
            </a:extLst>
          </p:cNvPr>
          <p:cNvSpPr>
            <a:spLocks/>
          </p:cNvSpPr>
          <p:nvPr/>
        </p:nvSpPr>
        <p:spPr bwMode="auto">
          <a:xfrm>
            <a:off x="1936796" y="4408663"/>
            <a:ext cx="555892" cy="493456"/>
          </a:xfrm>
          <a:custGeom>
            <a:avLst/>
            <a:gdLst>
              <a:gd name="T0" fmla="*/ 1907 w 1907"/>
              <a:gd name="T1" fmla="*/ 1695 h 1695"/>
              <a:gd name="T2" fmla="*/ 0 w 1907"/>
              <a:gd name="T3" fmla="*/ 1695 h 1695"/>
              <a:gd name="T4" fmla="*/ 0 w 1907"/>
              <a:gd name="T5" fmla="*/ 35 h 1695"/>
              <a:gd name="T6" fmla="*/ 35 w 1907"/>
              <a:gd name="T7" fmla="*/ 0 h 1695"/>
              <a:gd name="T8" fmla="*/ 1871 w 1907"/>
              <a:gd name="T9" fmla="*/ 0 h 1695"/>
              <a:gd name="T10" fmla="*/ 1907 w 1907"/>
              <a:gd name="T11" fmla="*/ 35 h 1695"/>
              <a:gd name="T12" fmla="*/ 1907 w 1907"/>
              <a:gd name="T13" fmla="*/ 1695 h 1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7" h="1695">
                <a:moveTo>
                  <a:pt x="1907" y="1695"/>
                </a:moveTo>
                <a:cubicBezTo>
                  <a:pt x="0" y="1695"/>
                  <a:pt x="0" y="1695"/>
                  <a:pt x="0" y="169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16"/>
                  <a:pt x="16" y="0"/>
                  <a:pt x="35" y="0"/>
                </a:cubicBezTo>
                <a:cubicBezTo>
                  <a:pt x="1871" y="0"/>
                  <a:pt x="1871" y="0"/>
                  <a:pt x="1871" y="0"/>
                </a:cubicBezTo>
                <a:cubicBezTo>
                  <a:pt x="1891" y="0"/>
                  <a:pt x="1907" y="16"/>
                  <a:pt x="1907" y="35"/>
                </a:cubicBezTo>
                <a:lnTo>
                  <a:pt x="1907" y="1695"/>
                </a:lnTo>
                <a:close/>
              </a:path>
            </a:pathLst>
          </a:custGeom>
          <a:solidFill>
            <a:srgbClr val="0AB2F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2" name="Freeform 31">
            <a:extLst>
              <a:ext uri="{FF2B5EF4-FFF2-40B4-BE49-F238E27FC236}">
                <a16:creationId xmlns:a16="http://schemas.microsoft.com/office/drawing/2014/main" id="{93295181-0E97-4E26-AC84-13F27B557793}"/>
              </a:ext>
            </a:extLst>
          </p:cNvPr>
          <p:cNvSpPr>
            <a:spLocks/>
          </p:cNvSpPr>
          <p:nvPr/>
        </p:nvSpPr>
        <p:spPr bwMode="auto">
          <a:xfrm>
            <a:off x="2078926" y="4521609"/>
            <a:ext cx="54298" cy="51633"/>
          </a:xfrm>
          <a:custGeom>
            <a:avLst/>
            <a:gdLst>
              <a:gd name="T0" fmla="*/ 93 w 186"/>
              <a:gd name="T1" fmla="*/ 177 h 177"/>
              <a:gd name="T2" fmla="*/ 93 w 186"/>
              <a:gd name="T3" fmla="*/ 177 h 177"/>
              <a:gd name="T4" fmla="*/ 0 w 186"/>
              <a:gd name="T5" fmla="*/ 84 h 177"/>
              <a:gd name="T6" fmla="*/ 0 w 186"/>
              <a:gd name="T7" fmla="*/ 0 h 177"/>
              <a:gd name="T8" fmla="*/ 186 w 186"/>
              <a:gd name="T9" fmla="*/ 0 h 177"/>
              <a:gd name="T10" fmla="*/ 186 w 186"/>
              <a:gd name="T11" fmla="*/ 84 h 177"/>
              <a:gd name="T12" fmla="*/ 93 w 186"/>
              <a:gd name="T13" fmla="*/ 177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6" h="177">
                <a:moveTo>
                  <a:pt x="93" y="177"/>
                </a:moveTo>
                <a:cubicBezTo>
                  <a:pt x="93" y="177"/>
                  <a:pt x="93" y="177"/>
                  <a:pt x="93" y="177"/>
                </a:cubicBezTo>
                <a:cubicBezTo>
                  <a:pt x="42" y="177"/>
                  <a:pt x="0" y="135"/>
                  <a:pt x="0" y="84"/>
                </a:cubicBezTo>
                <a:cubicBezTo>
                  <a:pt x="0" y="0"/>
                  <a:pt x="0" y="0"/>
                  <a:pt x="0" y="0"/>
                </a:cubicBezTo>
                <a:cubicBezTo>
                  <a:pt x="186" y="0"/>
                  <a:pt x="186" y="0"/>
                  <a:pt x="186" y="0"/>
                </a:cubicBezTo>
                <a:cubicBezTo>
                  <a:pt x="186" y="84"/>
                  <a:pt x="186" y="84"/>
                  <a:pt x="186" y="84"/>
                </a:cubicBezTo>
                <a:cubicBezTo>
                  <a:pt x="186" y="135"/>
                  <a:pt x="144" y="177"/>
                  <a:pt x="93" y="17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3" name="Freeform 32">
            <a:extLst>
              <a:ext uri="{FF2B5EF4-FFF2-40B4-BE49-F238E27FC236}">
                <a16:creationId xmlns:a16="http://schemas.microsoft.com/office/drawing/2014/main" id="{8B080069-EDB2-4D78-A1A7-844AEB7D08BD}"/>
              </a:ext>
            </a:extLst>
          </p:cNvPr>
          <p:cNvSpPr>
            <a:spLocks/>
          </p:cNvSpPr>
          <p:nvPr/>
        </p:nvSpPr>
        <p:spPr bwMode="auto">
          <a:xfrm>
            <a:off x="2296119" y="4521609"/>
            <a:ext cx="54298" cy="51633"/>
          </a:xfrm>
          <a:custGeom>
            <a:avLst/>
            <a:gdLst>
              <a:gd name="T0" fmla="*/ 93 w 186"/>
              <a:gd name="T1" fmla="*/ 177 h 177"/>
              <a:gd name="T2" fmla="*/ 93 w 186"/>
              <a:gd name="T3" fmla="*/ 177 h 177"/>
              <a:gd name="T4" fmla="*/ 0 w 186"/>
              <a:gd name="T5" fmla="*/ 84 h 177"/>
              <a:gd name="T6" fmla="*/ 0 w 186"/>
              <a:gd name="T7" fmla="*/ 0 h 177"/>
              <a:gd name="T8" fmla="*/ 186 w 186"/>
              <a:gd name="T9" fmla="*/ 0 h 177"/>
              <a:gd name="T10" fmla="*/ 186 w 186"/>
              <a:gd name="T11" fmla="*/ 84 h 177"/>
              <a:gd name="T12" fmla="*/ 93 w 186"/>
              <a:gd name="T13" fmla="*/ 177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6" h="177">
                <a:moveTo>
                  <a:pt x="93" y="177"/>
                </a:moveTo>
                <a:cubicBezTo>
                  <a:pt x="93" y="177"/>
                  <a:pt x="93" y="177"/>
                  <a:pt x="93" y="177"/>
                </a:cubicBezTo>
                <a:cubicBezTo>
                  <a:pt x="41" y="177"/>
                  <a:pt x="0" y="135"/>
                  <a:pt x="0" y="84"/>
                </a:cubicBezTo>
                <a:cubicBezTo>
                  <a:pt x="0" y="0"/>
                  <a:pt x="0" y="0"/>
                  <a:pt x="0" y="0"/>
                </a:cubicBezTo>
                <a:cubicBezTo>
                  <a:pt x="186" y="0"/>
                  <a:pt x="186" y="0"/>
                  <a:pt x="186" y="0"/>
                </a:cubicBezTo>
                <a:cubicBezTo>
                  <a:pt x="186" y="84"/>
                  <a:pt x="186" y="84"/>
                  <a:pt x="186" y="84"/>
                </a:cubicBezTo>
                <a:cubicBezTo>
                  <a:pt x="186" y="135"/>
                  <a:pt x="144" y="177"/>
                  <a:pt x="93" y="17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5" name="Freeform 34">
            <a:extLst>
              <a:ext uri="{FF2B5EF4-FFF2-40B4-BE49-F238E27FC236}">
                <a16:creationId xmlns:a16="http://schemas.microsoft.com/office/drawing/2014/main" id="{47450CA1-63E1-4B0C-A966-FCFC62D661FB}"/>
              </a:ext>
            </a:extLst>
          </p:cNvPr>
          <p:cNvSpPr>
            <a:spLocks/>
          </p:cNvSpPr>
          <p:nvPr/>
        </p:nvSpPr>
        <p:spPr bwMode="auto">
          <a:xfrm>
            <a:off x="2404576" y="4521609"/>
            <a:ext cx="54298" cy="51633"/>
          </a:xfrm>
          <a:custGeom>
            <a:avLst/>
            <a:gdLst>
              <a:gd name="T0" fmla="*/ 93 w 186"/>
              <a:gd name="T1" fmla="*/ 177 h 177"/>
              <a:gd name="T2" fmla="*/ 93 w 186"/>
              <a:gd name="T3" fmla="*/ 177 h 177"/>
              <a:gd name="T4" fmla="*/ 0 w 186"/>
              <a:gd name="T5" fmla="*/ 84 h 177"/>
              <a:gd name="T6" fmla="*/ 0 w 186"/>
              <a:gd name="T7" fmla="*/ 0 h 177"/>
              <a:gd name="T8" fmla="*/ 186 w 186"/>
              <a:gd name="T9" fmla="*/ 0 h 177"/>
              <a:gd name="T10" fmla="*/ 186 w 186"/>
              <a:gd name="T11" fmla="*/ 84 h 177"/>
              <a:gd name="T12" fmla="*/ 93 w 186"/>
              <a:gd name="T13" fmla="*/ 177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6" h="177">
                <a:moveTo>
                  <a:pt x="93" y="177"/>
                </a:moveTo>
                <a:cubicBezTo>
                  <a:pt x="93" y="177"/>
                  <a:pt x="93" y="177"/>
                  <a:pt x="93" y="177"/>
                </a:cubicBezTo>
                <a:cubicBezTo>
                  <a:pt x="42" y="177"/>
                  <a:pt x="0" y="135"/>
                  <a:pt x="0" y="84"/>
                </a:cubicBezTo>
                <a:cubicBezTo>
                  <a:pt x="0" y="0"/>
                  <a:pt x="0" y="0"/>
                  <a:pt x="0" y="0"/>
                </a:cubicBezTo>
                <a:cubicBezTo>
                  <a:pt x="186" y="0"/>
                  <a:pt x="186" y="0"/>
                  <a:pt x="186" y="0"/>
                </a:cubicBezTo>
                <a:cubicBezTo>
                  <a:pt x="186" y="84"/>
                  <a:pt x="186" y="84"/>
                  <a:pt x="186" y="84"/>
                </a:cubicBezTo>
                <a:cubicBezTo>
                  <a:pt x="186" y="135"/>
                  <a:pt x="145" y="177"/>
                  <a:pt x="93" y="17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6" name="Freeform 35">
            <a:extLst>
              <a:ext uri="{FF2B5EF4-FFF2-40B4-BE49-F238E27FC236}">
                <a16:creationId xmlns:a16="http://schemas.microsoft.com/office/drawing/2014/main" id="{9F7C50F2-6299-4CC3-8195-63495ECD9AAF}"/>
              </a:ext>
            </a:extLst>
          </p:cNvPr>
          <p:cNvSpPr>
            <a:spLocks/>
          </p:cNvSpPr>
          <p:nvPr/>
        </p:nvSpPr>
        <p:spPr bwMode="auto">
          <a:xfrm>
            <a:off x="1970610" y="4521609"/>
            <a:ext cx="54158" cy="51633"/>
          </a:xfrm>
          <a:custGeom>
            <a:avLst/>
            <a:gdLst>
              <a:gd name="T0" fmla="*/ 93 w 186"/>
              <a:gd name="T1" fmla="*/ 177 h 177"/>
              <a:gd name="T2" fmla="*/ 93 w 186"/>
              <a:gd name="T3" fmla="*/ 177 h 177"/>
              <a:gd name="T4" fmla="*/ 0 w 186"/>
              <a:gd name="T5" fmla="*/ 84 h 177"/>
              <a:gd name="T6" fmla="*/ 0 w 186"/>
              <a:gd name="T7" fmla="*/ 0 h 177"/>
              <a:gd name="T8" fmla="*/ 186 w 186"/>
              <a:gd name="T9" fmla="*/ 0 h 177"/>
              <a:gd name="T10" fmla="*/ 186 w 186"/>
              <a:gd name="T11" fmla="*/ 84 h 177"/>
              <a:gd name="T12" fmla="*/ 93 w 186"/>
              <a:gd name="T13" fmla="*/ 177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6" h="177">
                <a:moveTo>
                  <a:pt x="93" y="177"/>
                </a:moveTo>
                <a:cubicBezTo>
                  <a:pt x="93" y="177"/>
                  <a:pt x="93" y="177"/>
                  <a:pt x="93" y="177"/>
                </a:cubicBezTo>
                <a:cubicBezTo>
                  <a:pt x="41" y="177"/>
                  <a:pt x="0" y="135"/>
                  <a:pt x="0" y="84"/>
                </a:cubicBezTo>
                <a:cubicBezTo>
                  <a:pt x="0" y="0"/>
                  <a:pt x="0" y="0"/>
                  <a:pt x="0" y="0"/>
                </a:cubicBezTo>
                <a:cubicBezTo>
                  <a:pt x="186" y="0"/>
                  <a:pt x="186" y="0"/>
                  <a:pt x="186" y="0"/>
                </a:cubicBezTo>
                <a:cubicBezTo>
                  <a:pt x="186" y="84"/>
                  <a:pt x="186" y="84"/>
                  <a:pt x="186" y="84"/>
                </a:cubicBezTo>
                <a:cubicBezTo>
                  <a:pt x="186" y="135"/>
                  <a:pt x="144" y="177"/>
                  <a:pt x="93" y="17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7" name="Freeform 36">
            <a:extLst>
              <a:ext uri="{FF2B5EF4-FFF2-40B4-BE49-F238E27FC236}">
                <a16:creationId xmlns:a16="http://schemas.microsoft.com/office/drawing/2014/main" id="{C9BB002C-3D58-4CED-B4F0-E9F263A29091}"/>
              </a:ext>
            </a:extLst>
          </p:cNvPr>
          <p:cNvSpPr>
            <a:spLocks/>
          </p:cNvSpPr>
          <p:nvPr/>
        </p:nvSpPr>
        <p:spPr bwMode="auto">
          <a:xfrm>
            <a:off x="2187382" y="4521609"/>
            <a:ext cx="54579" cy="51633"/>
          </a:xfrm>
          <a:custGeom>
            <a:avLst/>
            <a:gdLst>
              <a:gd name="T0" fmla="*/ 93 w 187"/>
              <a:gd name="T1" fmla="*/ 177 h 177"/>
              <a:gd name="T2" fmla="*/ 93 w 187"/>
              <a:gd name="T3" fmla="*/ 177 h 177"/>
              <a:gd name="T4" fmla="*/ 0 w 187"/>
              <a:gd name="T5" fmla="*/ 84 h 177"/>
              <a:gd name="T6" fmla="*/ 0 w 187"/>
              <a:gd name="T7" fmla="*/ 0 h 177"/>
              <a:gd name="T8" fmla="*/ 187 w 187"/>
              <a:gd name="T9" fmla="*/ 0 h 177"/>
              <a:gd name="T10" fmla="*/ 187 w 187"/>
              <a:gd name="T11" fmla="*/ 84 h 177"/>
              <a:gd name="T12" fmla="*/ 93 w 187"/>
              <a:gd name="T13" fmla="*/ 177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7" h="177">
                <a:moveTo>
                  <a:pt x="93" y="177"/>
                </a:moveTo>
                <a:cubicBezTo>
                  <a:pt x="93" y="177"/>
                  <a:pt x="93" y="177"/>
                  <a:pt x="93" y="177"/>
                </a:cubicBezTo>
                <a:cubicBezTo>
                  <a:pt x="42" y="177"/>
                  <a:pt x="0" y="135"/>
                  <a:pt x="0" y="84"/>
                </a:cubicBezTo>
                <a:cubicBezTo>
                  <a:pt x="0" y="0"/>
                  <a:pt x="0" y="0"/>
                  <a:pt x="0" y="0"/>
                </a:cubicBezTo>
                <a:cubicBezTo>
                  <a:pt x="187" y="0"/>
                  <a:pt x="187" y="0"/>
                  <a:pt x="187" y="0"/>
                </a:cubicBezTo>
                <a:cubicBezTo>
                  <a:pt x="187" y="84"/>
                  <a:pt x="187" y="84"/>
                  <a:pt x="187" y="84"/>
                </a:cubicBezTo>
                <a:cubicBezTo>
                  <a:pt x="187" y="135"/>
                  <a:pt x="145" y="177"/>
                  <a:pt x="93" y="17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3" name="Freeform 42">
            <a:extLst>
              <a:ext uri="{FF2B5EF4-FFF2-40B4-BE49-F238E27FC236}">
                <a16:creationId xmlns:a16="http://schemas.microsoft.com/office/drawing/2014/main" id="{A0775981-D960-4ADD-974E-2F3FCBEF1497}"/>
              </a:ext>
            </a:extLst>
          </p:cNvPr>
          <p:cNvSpPr>
            <a:spLocks/>
          </p:cNvSpPr>
          <p:nvPr/>
        </p:nvSpPr>
        <p:spPr bwMode="auto">
          <a:xfrm>
            <a:off x="2078926" y="4439530"/>
            <a:ext cx="59770" cy="82079"/>
          </a:xfrm>
          <a:custGeom>
            <a:avLst/>
            <a:gdLst>
              <a:gd name="T0" fmla="*/ 387 w 426"/>
              <a:gd name="T1" fmla="*/ 585 h 585"/>
              <a:gd name="T2" fmla="*/ 0 w 426"/>
              <a:gd name="T3" fmla="*/ 585 h 585"/>
              <a:gd name="T4" fmla="*/ 67 w 426"/>
              <a:gd name="T5" fmla="*/ 0 h 585"/>
              <a:gd name="T6" fmla="*/ 426 w 426"/>
              <a:gd name="T7" fmla="*/ 0 h 585"/>
              <a:gd name="T8" fmla="*/ 387 w 426"/>
              <a:gd name="T9" fmla="*/ 585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6" h="585">
                <a:moveTo>
                  <a:pt x="387" y="585"/>
                </a:moveTo>
                <a:lnTo>
                  <a:pt x="0" y="585"/>
                </a:lnTo>
                <a:lnTo>
                  <a:pt x="67" y="0"/>
                </a:lnTo>
                <a:lnTo>
                  <a:pt x="426" y="0"/>
                </a:lnTo>
                <a:lnTo>
                  <a:pt x="387" y="5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4" name="Freeform 43">
            <a:extLst>
              <a:ext uri="{FF2B5EF4-FFF2-40B4-BE49-F238E27FC236}">
                <a16:creationId xmlns:a16="http://schemas.microsoft.com/office/drawing/2014/main" id="{1BDC2877-D486-4D56-A722-42AC9C75E17D}"/>
              </a:ext>
            </a:extLst>
          </p:cNvPr>
          <p:cNvSpPr>
            <a:spLocks/>
          </p:cNvSpPr>
          <p:nvPr/>
        </p:nvSpPr>
        <p:spPr bwMode="auto">
          <a:xfrm>
            <a:off x="2290367" y="4439530"/>
            <a:ext cx="60051" cy="82079"/>
          </a:xfrm>
          <a:custGeom>
            <a:avLst/>
            <a:gdLst>
              <a:gd name="T0" fmla="*/ 428 w 428"/>
              <a:gd name="T1" fmla="*/ 585 h 585"/>
              <a:gd name="T2" fmla="*/ 41 w 428"/>
              <a:gd name="T3" fmla="*/ 585 h 585"/>
              <a:gd name="T4" fmla="*/ 0 w 428"/>
              <a:gd name="T5" fmla="*/ 0 h 585"/>
              <a:gd name="T6" fmla="*/ 361 w 428"/>
              <a:gd name="T7" fmla="*/ 0 h 585"/>
              <a:gd name="T8" fmla="*/ 428 w 428"/>
              <a:gd name="T9" fmla="*/ 585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8" h="585">
                <a:moveTo>
                  <a:pt x="428" y="585"/>
                </a:moveTo>
                <a:lnTo>
                  <a:pt x="41" y="585"/>
                </a:lnTo>
                <a:lnTo>
                  <a:pt x="0" y="0"/>
                </a:lnTo>
                <a:lnTo>
                  <a:pt x="361" y="0"/>
                </a:lnTo>
                <a:lnTo>
                  <a:pt x="428" y="5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3F833B33-E218-4348-A6FE-19DEACDBB52E}"/>
              </a:ext>
            </a:extLst>
          </p:cNvPr>
          <p:cNvGrpSpPr/>
          <p:nvPr/>
        </p:nvGrpSpPr>
        <p:grpSpPr>
          <a:xfrm>
            <a:off x="1916031" y="4439530"/>
            <a:ext cx="597001" cy="133712"/>
            <a:chOff x="9521825" y="8108950"/>
            <a:chExt cx="6754813" cy="1512888"/>
          </a:xfrm>
          <a:solidFill>
            <a:srgbClr val="0AB2F0"/>
          </a:solidFill>
        </p:grpSpPr>
        <p:sp>
          <p:nvSpPr>
            <p:cNvPr id="287" name="Freeform 26">
              <a:extLst>
                <a:ext uri="{FF2B5EF4-FFF2-40B4-BE49-F238E27FC236}">
                  <a16:creationId xmlns:a16="http://schemas.microsoft.com/office/drawing/2014/main" id="{F5643C3F-0989-40A6-8650-29932A1B4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79275" y="9037638"/>
              <a:ext cx="612775" cy="584200"/>
            </a:xfrm>
            <a:custGeom>
              <a:avLst/>
              <a:gdLst>
                <a:gd name="T0" fmla="*/ 93 w 186"/>
                <a:gd name="T1" fmla="*/ 177 h 177"/>
                <a:gd name="T2" fmla="*/ 93 w 186"/>
                <a:gd name="T3" fmla="*/ 177 h 177"/>
                <a:gd name="T4" fmla="*/ 0 w 186"/>
                <a:gd name="T5" fmla="*/ 84 h 177"/>
                <a:gd name="T6" fmla="*/ 0 w 186"/>
                <a:gd name="T7" fmla="*/ 0 h 177"/>
                <a:gd name="T8" fmla="*/ 186 w 186"/>
                <a:gd name="T9" fmla="*/ 0 h 177"/>
                <a:gd name="T10" fmla="*/ 186 w 186"/>
                <a:gd name="T11" fmla="*/ 84 h 177"/>
                <a:gd name="T12" fmla="*/ 93 w 18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77">
                  <a:moveTo>
                    <a:pt x="93" y="177"/>
                  </a:moveTo>
                  <a:cubicBezTo>
                    <a:pt x="93" y="177"/>
                    <a:pt x="93" y="177"/>
                    <a:pt x="93" y="177"/>
                  </a:cubicBezTo>
                  <a:cubicBezTo>
                    <a:pt x="42" y="177"/>
                    <a:pt x="0" y="135"/>
                    <a:pt x="0" y="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6" y="84"/>
                    <a:pt x="186" y="84"/>
                    <a:pt x="186" y="84"/>
                  </a:cubicBezTo>
                  <a:cubicBezTo>
                    <a:pt x="186" y="135"/>
                    <a:pt x="145" y="177"/>
                    <a:pt x="93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8" name="Freeform 27">
              <a:extLst>
                <a:ext uri="{FF2B5EF4-FFF2-40B4-BE49-F238E27FC236}">
                  <a16:creationId xmlns:a16="http://schemas.microsoft.com/office/drawing/2014/main" id="{437EBC22-9E31-4DEE-854A-6A86EAD74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09588" y="9037638"/>
              <a:ext cx="612775" cy="584200"/>
            </a:xfrm>
            <a:custGeom>
              <a:avLst/>
              <a:gdLst>
                <a:gd name="T0" fmla="*/ 93 w 186"/>
                <a:gd name="T1" fmla="*/ 177 h 177"/>
                <a:gd name="T2" fmla="*/ 93 w 186"/>
                <a:gd name="T3" fmla="*/ 177 h 177"/>
                <a:gd name="T4" fmla="*/ 0 w 186"/>
                <a:gd name="T5" fmla="*/ 84 h 177"/>
                <a:gd name="T6" fmla="*/ 0 w 186"/>
                <a:gd name="T7" fmla="*/ 0 h 177"/>
                <a:gd name="T8" fmla="*/ 186 w 186"/>
                <a:gd name="T9" fmla="*/ 0 h 177"/>
                <a:gd name="T10" fmla="*/ 186 w 186"/>
                <a:gd name="T11" fmla="*/ 84 h 177"/>
                <a:gd name="T12" fmla="*/ 93 w 18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77">
                  <a:moveTo>
                    <a:pt x="93" y="177"/>
                  </a:moveTo>
                  <a:cubicBezTo>
                    <a:pt x="93" y="177"/>
                    <a:pt x="93" y="177"/>
                    <a:pt x="93" y="177"/>
                  </a:cubicBezTo>
                  <a:cubicBezTo>
                    <a:pt x="41" y="177"/>
                    <a:pt x="0" y="135"/>
                    <a:pt x="0" y="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6" y="84"/>
                    <a:pt x="186" y="84"/>
                    <a:pt x="186" y="84"/>
                  </a:cubicBezTo>
                  <a:cubicBezTo>
                    <a:pt x="186" y="135"/>
                    <a:pt x="144" y="177"/>
                    <a:pt x="93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89" name="Freeform 28">
              <a:extLst>
                <a:ext uri="{FF2B5EF4-FFF2-40B4-BE49-F238E27FC236}">
                  <a16:creationId xmlns:a16="http://schemas.microsoft.com/office/drawing/2014/main" id="{3F4B6E8A-CB1E-4020-8A94-307E80EC4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2138" y="9037638"/>
              <a:ext cx="612775" cy="584200"/>
            </a:xfrm>
            <a:custGeom>
              <a:avLst/>
              <a:gdLst>
                <a:gd name="T0" fmla="*/ 93 w 186"/>
                <a:gd name="T1" fmla="*/ 177 h 177"/>
                <a:gd name="T2" fmla="*/ 93 w 186"/>
                <a:gd name="T3" fmla="*/ 177 h 177"/>
                <a:gd name="T4" fmla="*/ 0 w 186"/>
                <a:gd name="T5" fmla="*/ 84 h 177"/>
                <a:gd name="T6" fmla="*/ 0 w 186"/>
                <a:gd name="T7" fmla="*/ 0 h 177"/>
                <a:gd name="T8" fmla="*/ 186 w 186"/>
                <a:gd name="T9" fmla="*/ 0 h 177"/>
                <a:gd name="T10" fmla="*/ 186 w 186"/>
                <a:gd name="T11" fmla="*/ 84 h 177"/>
                <a:gd name="T12" fmla="*/ 93 w 18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77">
                  <a:moveTo>
                    <a:pt x="93" y="177"/>
                  </a:moveTo>
                  <a:cubicBezTo>
                    <a:pt x="93" y="177"/>
                    <a:pt x="93" y="177"/>
                    <a:pt x="93" y="177"/>
                  </a:cubicBezTo>
                  <a:cubicBezTo>
                    <a:pt x="41" y="177"/>
                    <a:pt x="0" y="135"/>
                    <a:pt x="0" y="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6" y="84"/>
                    <a:pt x="186" y="84"/>
                    <a:pt x="186" y="84"/>
                  </a:cubicBezTo>
                  <a:cubicBezTo>
                    <a:pt x="186" y="135"/>
                    <a:pt x="144" y="177"/>
                    <a:pt x="93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0" name="Freeform 29">
              <a:extLst>
                <a:ext uri="{FF2B5EF4-FFF2-40B4-BE49-F238E27FC236}">
                  <a16:creationId xmlns:a16="http://schemas.microsoft.com/office/drawing/2014/main" id="{113DC7AC-ECC6-4D1F-8756-FFC3EC33A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1825" y="9037638"/>
              <a:ext cx="617538" cy="584200"/>
            </a:xfrm>
            <a:custGeom>
              <a:avLst/>
              <a:gdLst>
                <a:gd name="T0" fmla="*/ 94 w 187"/>
                <a:gd name="T1" fmla="*/ 177 h 177"/>
                <a:gd name="T2" fmla="*/ 94 w 187"/>
                <a:gd name="T3" fmla="*/ 177 h 177"/>
                <a:gd name="T4" fmla="*/ 0 w 187"/>
                <a:gd name="T5" fmla="*/ 84 h 177"/>
                <a:gd name="T6" fmla="*/ 0 w 187"/>
                <a:gd name="T7" fmla="*/ 0 h 177"/>
                <a:gd name="T8" fmla="*/ 187 w 187"/>
                <a:gd name="T9" fmla="*/ 0 h 177"/>
                <a:gd name="T10" fmla="*/ 187 w 187"/>
                <a:gd name="T11" fmla="*/ 84 h 177"/>
                <a:gd name="T12" fmla="*/ 94 w 187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77">
                  <a:moveTo>
                    <a:pt x="94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42" y="177"/>
                    <a:pt x="0" y="135"/>
                    <a:pt x="0" y="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87" y="84"/>
                    <a:pt x="187" y="84"/>
                    <a:pt x="187" y="84"/>
                  </a:cubicBezTo>
                  <a:cubicBezTo>
                    <a:pt x="187" y="135"/>
                    <a:pt x="145" y="177"/>
                    <a:pt x="94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1" name="Freeform 30">
              <a:extLst>
                <a:ext uri="{FF2B5EF4-FFF2-40B4-BE49-F238E27FC236}">
                  <a16:creationId xmlns:a16="http://schemas.microsoft.com/office/drawing/2014/main" id="{53BD954A-2CDA-4A7D-8C21-8ED532678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6725" y="9037638"/>
              <a:ext cx="612775" cy="584200"/>
            </a:xfrm>
            <a:custGeom>
              <a:avLst/>
              <a:gdLst>
                <a:gd name="T0" fmla="*/ 93 w 186"/>
                <a:gd name="T1" fmla="*/ 177 h 177"/>
                <a:gd name="T2" fmla="*/ 93 w 186"/>
                <a:gd name="T3" fmla="*/ 177 h 177"/>
                <a:gd name="T4" fmla="*/ 0 w 186"/>
                <a:gd name="T5" fmla="*/ 84 h 177"/>
                <a:gd name="T6" fmla="*/ 0 w 186"/>
                <a:gd name="T7" fmla="*/ 0 h 177"/>
                <a:gd name="T8" fmla="*/ 186 w 186"/>
                <a:gd name="T9" fmla="*/ 0 h 177"/>
                <a:gd name="T10" fmla="*/ 186 w 186"/>
                <a:gd name="T11" fmla="*/ 84 h 177"/>
                <a:gd name="T12" fmla="*/ 93 w 18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77">
                  <a:moveTo>
                    <a:pt x="93" y="177"/>
                  </a:moveTo>
                  <a:cubicBezTo>
                    <a:pt x="93" y="177"/>
                    <a:pt x="93" y="177"/>
                    <a:pt x="93" y="177"/>
                  </a:cubicBezTo>
                  <a:cubicBezTo>
                    <a:pt x="42" y="177"/>
                    <a:pt x="0" y="135"/>
                    <a:pt x="0" y="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6" y="84"/>
                    <a:pt x="186" y="84"/>
                    <a:pt x="186" y="84"/>
                  </a:cubicBezTo>
                  <a:cubicBezTo>
                    <a:pt x="186" y="135"/>
                    <a:pt x="144" y="177"/>
                    <a:pt x="93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4" name="Freeform 33">
              <a:extLst>
                <a:ext uri="{FF2B5EF4-FFF2-40B4-BE49-F238E27FC236}">
                  <a16:creationId xmlns:a16="http://schemas.microsoft.com/office/drawing/2014/main" id="{0E9B87BE-AFA1-4943-BCDA-E59F7149C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63863" y="9037638"/>
              <a:ext cx="612775" cy="584200"/>
            </a:xfrm>
            <a:custGeom>
              <a:avLst/>
              <a:gdLst>
                <a:gd name="T0" fmla="*/ 93 w 186"/>
                <a:gd name="T1" fmla="*/ 177 h 177"/>
                <a:gd name="T2" fmla="*/ 93 w 186"/>
                <a:gd name="T3" fmla="*/ 177 h 177"/>
                <a:gd name="T4" fmla="*/ 0 w 186"/>
                <a:gd name="T5" fmla="*/ 84 h 177"/>
                <a:gd name="T6" fmla="*/ 0 w 186"/>
                <a:gd name="T7" fmla="*/ 0 h 177"/>
                <a:gd name="T8" fmla="*/ 186 w 186"/>
                <a:gd name="T9" fmla="*/ 0 h 177"/>
                <a:gd name="T10" fmla="*/ 186 w 186"/>
                <a:gd name="T11" fmla="*/ 84 h 177"/>
                <a:gd name="T12" fmla="*/ 93 w 18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6" h="177">
                  <a:moveTo>
                    <a:pt x="93" y="177"/>
                  </a:moveTo>
                  <a:cubicBezTo>
                    <a:pt x="93" y="177"/>
                    <a:pt x="93" y="177"/>
                    <a:pt x="93" y="177"/>
                  </a:cubicBezTo>
                  <a:cubicBezTo>
                    <a:pt x="42" y="177"/>
                    <a:pt x="0" y="135"/>
                    <a:pt x="0" y="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86" y="84"/>
                    <a:pt x="186" y="84"/>
                    <a:pt x="186" y="84"/>
                  </a:cubicBezTo>
                  <a:cubicBezTo>
                    <a:pt x="186" y="135"/>
                    <a:pt x="145" y="177"/>
                    <a:pt x="93" y="1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8" name="Freeform 37">
              <a:extLst>
                <a:ext uri="{FF2B5EF4-FFF2-40B4-BE49-F238E27FC236}">
                  <a16:creationId xmlns:a16="http://schemas.microsoft.com/office/drawing/2014/main" id="{906FF331-C8C0-4CF1-9D3C-6B4C90D58C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79275" y="8108950"/>
              <a:ext cx="636588" cy="928688"/>
            </a:xfrm>
            <a:custGeom>
              <a:avLst/>
              <a:gdLst>
                <a:gd name="T0" fmla="*/ 386 w 401"/>
                <a:gd name="T1" fmla="*/ 585 h 585"/>
                <a:gd name="T2" fmla="*/ 0 w 401"/>
                <a:gd name="T3" fmla="*/ 585 h 585"/>
                <a:gd name="T4" fmla="*/ 39 w 401"/>
                <a:gd name="T5" fmla="*/ 0 h 585"/>
                <a:gd name="T6" fmla="*/ 401 w 401"/>
                <a:gd name="T7" fmla="*/ 0 h 585"/>
                <a:gd name="T8" fmla="*/ 386 w 401"/>
                <a:gd name="T9" fmla="*/ 585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585">
                  <a:moveTo>
                    <a:pt x="386" y="585"/>
                  </a:moveTo>
                  <a:lnTo>
                    <a:pt x="0" y="585"/>
                  </a:lnTo>
                  <a:lnTo>
                    <a:pt x="39" y="0"/>
                  </a:lnTo>
                  <a:lnTo>
                    <a:pt x="401" y="0"/>
                  </a:lnTo>
                  <a:lnTo>
                    <a:pt x="386" y="5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9" name="Freeform 38">
              <a:extLst>
                <a:ext uri="{FF2B5EF4-FFF2-40B4-BE49-F238E27FC236}">
                  <a16:creationId xmlns:a16="http://schemas.microsoft.com/office/drawing/2014/main" id="{7AD5C831-C10D-4390-90F8-B4F360B8F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85775" y="8108950"/>
              <a:ext cx="636588" cy="928688"/>
            </a:xfrm>
            <a:custGeom>
              <a:avLst/>
              <a:gdLst>
                <a:gd name="T0" fmla="*/ 401 w 401"/>
                <a:gd name="T1" fmla="*/ 585 h 585"/>
                <a:gd name="T2" fmla="*/ 15 w 401"/>
                <a:gd name="T3" fmla="*/ 585 h 585"/>
                <a:gd name="T4" fmla="*/ 0 w 401"/>
                <a:gd name="T5" fmla="*/ 0 h 585"/>
                <a:gd name="T6" fmla="*/ 360 w 401"/>
                <a:gd name="T7" fmla="*/ 0 h 585"/>
                <a:gd name="T8" fmla="*/ 401 w 401"/>
                <a:gd name="T9" fmla="*/ 585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1" h="585">
                  <a:moveTo>
                    <a:pt x="401" y="585"/>
                  </a:moveTo>
                  <a:lnTo>
                    <a:pt x="15" y="585"/>
                  </a:lnTo>
                  <a:lnTo>
                    <a:pt x="0" y="0"/>
                  </a:lnTo>
                  <a:lnTo>
                    <a:pt x="360" y="0"/>
                  </a:lnTo>
                  <a:lnTo>
                    <a:pt x="401" y="5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0" name="Freeform 39">
              <a:extLst>
                <a:ext uri="{FF2B5EF4-FFF2-40B4-BE49-F238E27FC236}">
                  <a16:creationId xmlns:a16="http://schemas.microsoft.com/office/drawing/2014/main" id="{446D14C7-0DCF-42DD-B4DF-416AD6C4E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2138" y="8108950"/>
              <a:ext cx="719138" cy="928688"/>
            </a:xfrm>
            <a:custGeom>
              <a:avLst/>
              <a:gdLst>
                <a:gd name="T0" fmla="*/ 386 w 453"/>
                <a:gd name="T1" fmla="*/ 585 h 585"/>
                <a:gd name="T2" fmla="*/ 0 w 453"/>
                <a:gd name="T3" fmla="*/ 585 h 585"/>
                <a:gd name="T4" fmla="*/ 94 w 453"/>
                <a:gd name="T5" fmla="*/ 0 h 585"/>
                <a:gd name="T6" fmla="*/ 453 w 453"/>
                <a:gd name="T7" fmla="*/ 0 h 585"/>
                <a:gd name="T8" fmla="*/ 386 w 453"/>
                <a:gd name="T9" fmla="*/ 585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585">
                  <a:moveTo>
                    <a:pt x="386" y="585"/>
                  </a:moveTo>
                  <a:lnTo>
                    <a:pt x="0" y="585"/>
                  </a:lnTo>
                  <a:lnTo>
                    <a:pt x="94" y="0"/>
                  </a:lnTo>
                  <a:lnTo>
                    <a:pt x="453" y="0"/>
                  </a:lnTo>
                  <a:lnTo>
                    <a:pt x="386" y="5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1" name="Freeform 40">
              <a:extLst>
                <a:ext uri="{FF2B5EF4-FFF2-40B4-BE49-F238E27FC236}">
                  <a16:creationId xmlns:a16="http://schemas.microsoft.com/office/drawing/2014/main" id="{C5AA5374-1E7B-4081-A66E-94A987EE46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1825" y="8108950"/>
              <a:ext cx="804863" cy="928688"/>
            </a:xfrm>
            <a:custGeom>
              <a:avLst/>
              <a:gdLst>
                <a:gd name="T0" fmla="*/ 389 w 507"/>
                <a:gd name="T1" fmla="*/ 585 h 585"/>
                <a:gd name="T2" fmla="*/ 0 w 507"/>
                <a:gd name="T3" fmla="*/ 585 h 585"/>
                <a:gd name="T4" fmla="*/ 148 w 507"/>
                <a:gd name="T5" fmla="*/ 0 h 585"/>
                <a:gd name="T6" fmla="*/ 507 w 507"/>
                <a:gd name="T7" fmla="*/ 0 h 585"/>
                <a:gd name="T8" fmla="*/ 389 w 507"/>
                <a:gd name="T9" fmla="*/ 585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7" h="585">
                  <a:moveTo>
                    <a:pt x="389" y="585"/>
                  </a:moveTo>
                  <a:lnTo>
                    <a:pt x="0" y="585"/>
                  </a:lnTo>
                  <a:lnTo>
                    <a:pt x="148" y="0"/>
                  </a:lnTo>
                  <a:lnTo>
                    <a:pt x="507" y="0"/>
                  </a:lnTo>
                  <a:lnTo>
                    <a:pt x="389" y="5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2" name="Freeform 41">
              <a:extLst>
                <a:ext uri="{FF2B5EF4-FFF2-40B4-BE49-F238E27FC236}">
                  <a16:creationId xmlns:a16="http://schemas.microsoft.com/office/drawing/2014/main" id="{688994AB-243D-4E04-A8C4-4C77887B5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0363" y="8108950"/>
              <a:ext cx="719138" cy="928688"/>
            </a:xfrm>
            <a:custGeom>
              <a:avLst/>
              <a:gdLst>
                <a:gd name="T0" fmla="*/ 453 w 453"/>
                <a:gd name="T1" fmla="*/ 585 h 585"/>
                <a:gd name="T2" fmla="*/ 67 w 453"/>
                <a:gd name="T3" fmla="*/ 585 h 585"/>
                <a:gd name="T4" fmla="*/ 0 w 453"/>
                <a:gd name="T5" fmla="*/ 0 h 585"/>
                <a:gd name="T6" fmla="*/ 360 w 453"/>
                <a:gd name="T7" fmla="*/ 0 h 585"/>
                <a:gd name="T8" fmla="*/ 453 w 453"/>
                <a:gd name="T9" fmla="*/ 585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585">
                  <a:moveTo>
                    <a:pt x="453" y="585"/>
                  </a:moveTo>
                  <a:lnTo>
                    <a:pt x="67" y="585"/>
                  </a:lnTo>
                  <a:lnTo>
                    <a:pt x="0" y="0"/>
                  </a:lnTo>
                  <a:lnTo>
                    <a:pt x="360" y="0"/>
                  </a:lnTo>
                  <a:lnTo>
                    <a:pt x="453" y="5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05" name="Freeform 44">
              <a:extLst>
                <a:ext uri="{FF2B5EF4-FFF2-40B4-BE49-F238E27FC236}">
                  <a16:creationId xmlns:a16="http://schemas.microsoft.com/office/drawing/2014/main" id="{62F6D63B-C1BA-4372-B9B8-CBE66C2A13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71775" y="8108950"/>
              <a:ext cx="804863" cy="928688"/>
            </a:xfrm>
            <a:custGeom>
              <a:avLst/>
              <a:gdLst>
                <a:gd name="T0" fmla="*/ 507 w 507"/>
                <a:gd name="T1" fmla="*/ 585 h 585"/>
                <a:gd name="T2" fmla="*/ 121 w 507"/>
                <a:gd name="T3" fmla="*/ 585 h 585"/>
                <a:gd name="T4" fmla="*/ 0 w 507"/>
                <a:gd name="T5" fmla="*/ 0 h 585"/>
                <a:gd name="T6" fmla="*/ 362 w 507"/>
                <a:gd name="T7" fmla="*/ 0 h 585"/>
                <a:gd name="T8" fmla="*/ 507 w 507"/>
                <a:gd name="T9" fmla="*/ 585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7" h="585">
                  <a:moveTo>
                    <a:pt x="507" y="585"/>
                  </a:moveTo>
                  <a:lnTo>
                    <a:pt x="121" y="585"/>
                  </a:lnTo>
                  <a:lnTo>
                    <a:pt x="0" y="0"/>
                  </a:lnTo>
                  <a:lnTo>
                    <a:pt x="362" y="0"/>
                  </a:lnTo>
                  <a:lnTo>
                    <a:pt x="507" y="58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06" name="Freeform 45">
            <a:extLst>
              <a:ext uri="{FF2B5EF4-FFF2-40B4-BE49-F238E27FC236}">
                <a16:creationId xmlns:a16="http://schemas.microsoft.com/office/drawing/2014/main" id="{D2EE1669-17AB-452B-BA54-410E4C6AAC8E}"/>
              </a:ext>
            </a:extLst>
          </p:cNvPr>
          <p:cNvSpPr>
            <a:spLocks/>
          </p:cNvSpPr>
          <p:nvPr/>
        </p:nvSpPr>
        <p:spPr bwMode="auto">
          <a:xfrm>
            <a:off x="2391527" y="4439530"/>
            <a:ext cx="67347" cy="82079"/>
          </a:xfrm>
          <a:custGeom>
            <a:avLst/>
            <a:gdLst>
              <a:gd name="T0" fmla="*/ 480 w 480"/>
              <a:gd name="T1" fmla="*/ 585 h 585"/>
              <a:gd name="T2" fmla="*/ 93 w 480"/>
              <a:gd name="T3" fmla="*/ 585 h 585"/>
              <a:gd name="T4" fmla="*/ 0 w 480"/>
              <a:gd name="T5" fmla="*/ 0 h 585"/>
              <a:gd name="T6" fmla="*/ 359 w 480"/>
              <a:gd name="T7" fmla="*/ 0 h 585"/>
              <a:gd name="T8" fmla="*/ 480 w 480"/>
              <a:gd name="T9" fmla="*/ 585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0" h="585">
                <a:moveTo>
                  <a:pt x="480" y="585"/>
                </a:moveTo>
                <a:lnTo>
                  <a:pt x="93" y="585"/>
                </a:lnTo>
                <a:lnTo>
                  <a:pt x="0" y="0"/>
                </a:lnTo>
                <a:lnTo>
                  <a:pt x="359" y="0"/>
                </a:lnTo>
                <a:lnTo>
                  <a:pt x="480" y="5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7" name="Freeform 46">
            <a:extLst>
              <a:ext uri="{FF2B5EF4-FFF2-40B4-BE49-F238E27FC236}">
                <a16:creationId xmlns:a16="http://schemas.microsoft.com/office/drawing/2014/main" id="{1333F16B-022B-4043-A9C0-82EDD86673C9}"/>
              </a:ext>
            </a:extLst>
          </p:cNvPr>
          <p:cNvSpPr>
            <a:spLocks/>
          </p:cNvSpPr>
          <p:nvPr/>
        </p:nvSpPr>
        <p:spPr bwMode="auto">
          <a:xfrm>
            <a:off x="1970610" y="4439530"/>
            <a:ext cx="67347" cy="82079"/>
          </a:xfrm>
          <a:custGeom>
            <a:avLst/>
            <a:gdLst>
              <a:gd name="T0" fmla="*/ 386 w 480"/>
              <a:gd name="T1" fmla="*/ 585 h 585"/>
              <a:gd name="T2" fmla="*/ 0 w 480"/>
              <a:gd name="T3" fmla="*/ 585 h 585"/>
              <a:gd name="T4" fmla="*/ 118 w 480"/>
              <a:gd name="T5" fmla="*/ 0 h 585"/>
              <a:gd name="T6" fmla="*/ 480 w 480"/>
              <a:gd name="T7" fmla="*/ 0 h 585"/>
              <a:gd name="T8" fmla="*/ 386 w 480"/>
              <a:gd name="T9" fmla="*/ 585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0" h="585">
                <a:moveTo>
                  <a:pt x="386" y="585"/>
                </a:moveTo>
                <a:lnTo>
                  <a:pt x="0" y="585"/>
                </a:lnTo>
                <a:lnTo>
                  <a:pt x="118" y="0"/>
                </a:lnTo>
                <a:lnTo>
                  <a:pt x="480" y="0"/>
                </a:lnTo>
                <a:lnTo>
                  <a:pt x="386" y="5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8" name="Freeform 47">
            <a:extLst>
              <a:ext uri="{FF2B5EF4-FFF2-40B4-BE49-F238E27FC236}">
                <a16:creationId xmlns:a16="http://schemas.microsoft.com/office/drawing/2014/main" id="{93043260-EE22-43E3-BA07-94F8E5199E68}"/>
              </a:ext>
            </a:extLst>
          </p:cNvPr>
          <p:cNvSpPr>
            <a:spLocks/>
          </p:cNvSpPr>
          <p:nvPr/>
        </p:nvSpPr>
        <p:spPr bwMode="auto">
          <a:xfrm>
            <a:off x="2187382" y="4439530"/>
            <a:ext cx="54579" cy="82079"/>
          </a:xfrm>
          <a:custGeom>
            <a:avLst/>
            <a:gdLst>
              <a:gd name="T0" fmla="*/ 389 w 389"/>
              <a:gd name="T1" fmla="*/ 585 h 585"/>
              <a:gd name="T2" fmla="*/ 0 w 389"/>
              <a:gd name="T3" fmla="*/ 585 h 585"/>
              <a:gd name="T4" fmla="*/ 15 w 389"/>
              <a:gd name="T5" fmla="*/ 0 h 585"/>
              <a:gd name="T6" fmla="*/ 374 w 389"/>
              <a:gd name="T7" fmla="*/ 0 h 585"/>
              <a:gd name="T8" fmla="*/ 389 w 389"/>
              <a:gd name="T9" fmla="*/ 585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89" h="585">
                <a:moveTo>
                  <a:pt x="389" y="585"/>
                </a:moveTo>
                <a:lnTo>
                  <a:pt x="0" y="585"/>
                </a:lnTo>
                <a:lnTo>
                  <a:pt x="15" y="0"/>
                </a:lnTo>
                <a:lnTo>
                  <a:pt x="374" y="0"/>
                </a:lnTo>
                <a:lnTo>
                  <a:pt x="389" y="58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9" name="Freeform 48">
            <a:extLst>
              <a:ext uri="{FF2B5EF4-FFF2-40B4-BE49-F238E27FC236}">
                <a16:creationId xmlns:a16="http://schemas.microsoft.com/office/drawing/2014/main" id="{DAD3113A-27F9-4C82-A5BC-BFF118F42022}"/>
              </a:ext>
            </a:extLst>
          </p:cNvPr>
          <p:cNvSpPr>
            <a:spLocks/>
          </p:cNvSpPr>
          <p:nvPr/>
        </p:nvSpPr>
        <p:spPr bwMode="auto">
          <a:xfrm>
            <a:off x="1916031" y="4891736"/>
            <a:ext cx="597001" cy="20625"/>
          </a:xfrm>
          <a:custGeom>
            <a:avLst/>
            <a:gdLst>
              <a:gd name="T0" fmla="*/ 2013 w 2048"/>
              <a:gd name="T1" fmla="*/ 71 h 71"/>
              <a:gd name="T2" fmla="*/ 36 w 2048"/>
              <a:gd name="T3" fmla="*/ 71 h 71"/>
              <a:gd name="T4" fmla="*/ 0 w 2048"/>
              <a:gd name="T5" fmla="*/ 36 h 71"/>
              <a:gd name="T6" fmla="*/ 0 w 2048"/>
              <a:gd name="T7" fmla="*/ 36 h 71"/>
              <a:gd name="T8" fmla="*/ 36 w 2048"/>
              <a:gd name="T9" fmla="*/ 0 h 71"/>
              <a:gd name="T10" fmla="*/ 2013 w 2048"/>
              <a:gd name="T11" fmla="*/ 0 h 71"/>
              <a:gd name="T12" fmla="*/ 2048 w 2048"/>
              <a:gd name="T13" fmla="*/ 36 h 71"/>
              <a:gd name="T14" fmla="*/ 2048 w 2048"/>
              <a:gd name="T15" fmla="*/ 36 h 71"/>
              <a:gd name="T16" fmla="*/ 2013 w 2048"/>
              <a:gd name="T17" fmla="*/ 71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48" h="71">
                <a:moveTo>
                  <a:pt x="2013" y="71"/>
                </a:moveTo>
                <a:cubicBezTo>
                  <a:pt x="36" y="71"/>
                  <a:pt x="36" y="71"/>
                  <a:pt x="36" y="71"/>
                </a:cubicBezTo>
                <a:cubicBezTo>
                  <a:pt x="16" y="71"/>
                  <a:pt x="0" y="55"/>
                  <a:pt x="0" y="36"/>
                </a:cubicBezTo>
                <a:cubicBezTo>
                  <a:pt x="0" y="36"/>
                  <a:pt x="0" y="36"/>
                  <a:pt x="0" y="36"/>
                </a:cubicBezTo>
                <a:cubicBezTo>
                  <a:pt x="0" y="16"/>
                  <a:pt x="16" y="0"/>
                  <a:pt x="36" y="0"/>
                </a:cubicBezTo>
                <a:cubicBezTo>
                  <a:pt x="2013" y="0"/>
                  <a:pt x="2013" y="0"/>
                  <a:pt x="2013" y="0"/>
                </a:cubicBezTo>
                <a:cubicBezTo>
                  <a:pt x="2033" y="0"/>
                  <a:pt x="2048" y="16"/>
                  <a:pt x="2048" y="36"/>
                </a:cubicBezTo>
                <a:cubicBezTo>
                  <a:pt x="2048" y="36"/>
                  <a:pt x="2048" y="36"/>
                  <a:pt x="2048" y="36"/>
                </a:cubicBezTo>
                <a:cubicBezTo>
                  <a:pt x="2048" y="55"/>
                  <a:pt x="2033" y="71"/>
                  <a:pt x="2013" y="71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0" name="Freeform 49">
            <a:extLst>
              <a:ext uri="{FF2B5EF4-FFF2-40B4-BE49-F238E27FC236}">
                <a16:creationId xmlns:a16="http://schemas.microsoft.com/office/drawing/2014/main" id="{42AD1BE8-FF8D-4A0B-96F6-CF14C702F2DB}"/>
              </a:ext>
            </a:extLst>
          </p:cNvPr>
          <p:cNvSpPr>
            <a:spLocks noEditPoints="1"/>
          </p:cNvSpPr>
          <p:nvPr/>
        </p:nvSpPr>
        <p:spPr bwMode="auto">
          <a:xfrm>
            <a:off x="1977906" y="4604109"/>
            <a:ext cx="308953" cy="205548"/>
          </a:xfrm>
          <a:custGeom>
            <a:avLst/>
            <a:gdLst>
              <a:gd name="T0" fmla="*/ 989 w 1060"/>
              <a:gd name="T1" fmla="*/ 70 h 706"/>
              <a:gd name="T2" fmla="*/ 989 w 1060"/>
              <a:gd name="T3" fmla="*/ 635 h 706"/>
              <a:gd name="T4" fmla="*/ 71 w 1060"/>
              <a:gd name="T5" fmla="*/ 635 h 706"/>
              <a:gd name="T6" fmla="*/ 71 w 1060"/>
              <a:gd name="T7" fmla="*/ 70 h 706"/>
              <a:gd name="T8" fmla="*/ 989 w 1060"/>
              <a:gd name="T9" fmla="*/ 70 h 706"/>
              <a:gd name="T10" fmla="*/ 1024 w 1060"/>
              <a:gd name="T11" fmla="*/ 0 h 706"/>
              <a:gd name="T12" fmla="*/ 36 w 1060"/>
              <a:gd name="T13" fmla="*/ 0 h 706"/>
              <a:gd name="T14" fmla="*/ 0 w 1060"/>
              <a:gd name="T15" fmla="*/ 35 h 706"/>
              <a:gd name="T16" fmla="*/ 0 w 1060"/>
              <a:gd name="T17" fmla="*/ 671 h 706"/>
              <a:gd name="T18" fmla="*/ 36 w 1060"/>
              <a:gd name="T19" fmla="*/ 706 h 706"/>
              <a:gd name="T20" fmla="*/ 1024 w 1060"/>
              <a:gd name="T21" fmla="*/ 706 h 706"/>
              <a:gd name="T22" fmla="*/ 1060 w 1060"/>
              <a:gd name="T23" fmla="*/ 671 h 706"/>
              <a:gd name="T24" fmla="*/ 1060 w 1060"/>
              <a:gd name="T25" fmla="*/ 35 h 706"/>
              <a:gd name="T26" fmla="*/ 1024 w 1060"/>
              <a:gd name="T27" fmla="*/ 0 h 7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060" h="706">
                <a:moveTo>
                  <a:pt x="989" y="70"/>
                </a:moveTo>
                <a:cubicBezTo>
                  <a:pt x="989" y="635"/>
                  <a:pt x="989" y="635"/>
                  <a:pt x="989" y="635"/>
                </a:cubicBezTo>
                <a:cubicBezTo>
                  <a:pt x="71" y="635"/>
                  <a:pt x="71" y="635"/>
                  <a:pt x="71" y="635"/>
                </a:cubicBezTo>
                <a:cubicBezTo>
                  <a:pt x="71" y="70"/>
                  <a:pt x="71" y="70"/>
                  <a:pt x="71" y="70"/>
                </a:cubicBezTo>
                <a:cubicBezTo>
                  <a:pt x="989" y="70"/>
                  <a:pt x="989" y="70"/>
                  <a:pt x="989" y="70"/>
                </a:cubicBezTo>
                <a:moveTo>
                  <a:pt x="1024" y="0"/>
                </a:moveTo>
                <a:cubicBezTo>
                  <a:pt x="36" y="0"/>
                  <a:pt x="36" y="0"/>
                  <a:pt x="36" y="0"/>
                </a:cubicBezTo>
                <a:cubicBezTo>
                  <a:pt x="16" y="0"/>
                  <a:pt x="0" y="16"/>
                  <a:pt x="0" y="35"/>
                </a:cubicBezTo>
                <a:cubicBezTo>
                  <a:pt x="0" y="671"/>
                  <a:pt x="0" y="671"/>
                  <a:pt x="0" y="671"/>
                </a:cubicBezTo>
                <a:cubicBezTo>
                  <a:pt x="0" y="690"/>
                  <a:pt x="16" y="706"/>
                  <a:pt x="36" y="706"/>
                </a:cubicBezTo>
                <a:cubicBezTo>
                  <a:pt x="1024" y="706"/>
                  <a:pt x="1024" y="706"/>
                  <a:pt x="1024" y="706"/>
                </a:cubicBezTo>
                <a:cubicBezTo>
                  <a:pt x="1044" y="706"/>
                  <a:pt x="1060" y="690"/>
                  <a:pt x="1060" y="671"/>
                </a:cubicBezTo>
                <a:cubicBezTo>
                  <a:pt x="1060" y="35"/>
                  <a:pt x="1060" y="35"/>
                  <a:pt x="1060" y="35"/>
                </a:cubicBezTo>
                <a:cubicBezTo>
                  <a:pt x="1060" y="16"/>
                  <a:pt x="1044" y="0"/>
                  <a:pt x="1024" y="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1" name="Freeform 50">
            <a:extLst>
              <a:ext uri="{FF2B5EF4-FFF2-40B4-BE49-F238E27FC236}">
                <a16:creationId xmlns:a16="http://schemas.microsoft.com/office/drawing/2014/main" id="{83C47B86-7D41-4ADB-8B2C-E4FA97D5F12F}"/>
              </a:ext>
            </a:extLst>
          </p:cNvPr>
          <p:cNvSpPr>
            <a:spLocks/>
          </p:cNvSpPr>
          <p:nvPr/>
        </p:nvSpPr>
        <p:spPr bwMode="auto">
          <a:xfrm>
            <a:off x="2327969" y="4604109"/>
            <a:ext cx="123609" cy="267142"/>
          </a:xfrm>
          <a:custGeom>
            <a:avLst/>
            <a:gdLst>
              <a:gd name="T0" fmla="*/ 388 w 424"/>
              <a:gd name="T1" fmla="*/ 0 h 918"/>
              <a:gd name="T2" fmla="*/ 35 w 424"/>
              <a:gd name="T3" fmla="*/ 0 h 918"/>
              <a:gd name="T4" fmla="*/ 0 w 424"/>
              <a:gd name="T5" fmla="*/ 35 h 918"/>
              <a:gd name="T6" fmla="*/ 0 w 424"/>
              <a:gd name="T7" fmla="*/ 918 h 918"/>
              <a:gd name="T8" fmla="*/ 424 w 424"/>
              <a:gd name="T9" fmla="*/ 918 h 918"/>
              <a:gd name="T10" fmla="*/ 424 w 424"/>
              <a:gd name="T11" fmla="*/ 35 h 918"/>
              <a:gd name="T12" fmla="*/ 388 w 424"/>
              <a:gd name="T13" fmla="*/ 0 h 9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24" h="918">
                <a:moveTo>
                  <a:pt x="388" y="0"/>
                </a:moveTo>
                <a:cubicBezTo>
                  <a:pt x="35" y="0"/>
                  <a:pt x="35" y="0"/>
                  <a:pt x="35" y="0"/>
                </a:cubicBezTo>
                <a:cubicBezTo>
                  <a:pt x="16" y="0"/>
                  <a:pt x="0" y="16"/>
                  <a:pt x="0" y="35"/>
                </a:cubicBezTo>
                <a:cubicBezTo>
                  <a:pt x="0" y="918"/>
                  <a:pt x="0" y="918"/>
                  <a:pt x="0" y="918"/>
                </a:cubicBezTo>
                <a:cubicBezTo>
                  <a:pt x="424" y="918"/>
                  <a:pt x="424" y="918"/>
                  <a:pt x="424" y="918"/>
                </a:cubicBezTo>
                <a:cubicBezTo>
                  <a:pt x="424" y="35"/>
                  <a:pt x="424" y="35"/>
                  <a:pt x="424" y="35"/>
                </a:cubicBezTo>
                <a:cubicBezTo>
                  <a:pt x="424" y="16"/>
                  <a:pt x="408" y="0"/>
                  <a:pt x="388" y="0"/>
                </a:cubicBezTo>
                <a:close/>
              </a:path>
            </a:pathLst>
          </a:custGeom>
          <a:solidFill>
            <a:srgbClr val="3D71A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2" name="Rectangle 51">
            <a:extLst>
              <a:ext uri="{FF2B5EF4-FFF2-40B4-BE49-F238E27FC236}">
                <a16:creationId xmlns:a16="http://schemas.microsoft.com/office/drawing/2014/main" id="{E84A69CB-934A-447E-A94F-15E2E236BC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8288" y="4614211"/>
            <a:ext cx="288048" cy="185204"/>
          </a:xfrm>
          <a:prstGeom prst="rect">
            <a:avLst/>
          </a:prstGeom>
          <a:solidFill>
            <a:schemeClr val="bg1"/>
          </a:solidFill>
          <a:ln>
            <a:solidFill>
              <a:srgbClr val="0AB2F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3" name="Freeform 52">
            <a:extLst>
              <a:ext uri="{FF2B5EF4-FFF2-40B4-BE49-F238E27FC236}">
                <a16:creationId xmlns:a16="http://schemas.microsoft.com/office/drawing/2014/main" id="{AC2F275D-363E-4826-906E-AC78A73B60A8}"/>
              </a:ext>
            </a:extLst>
          </p:cNvPr>
          <p:cNvSpPr>
            <a:spLocks/>
          </p:cNvSpPr>
          <p:nvPr/>
        </p:nvSpPr>
        <p:spPr bwMode="auto">
          <a:xfrm>
            <a:off x="2348313" y="4624453"/>
            <a:ext cx="82500" cy="164439"/>
          </a:xfrm>
          <a:custGeom>
            <a:avLst/>
            <a:gdLst>
              <a:gd name="T0" fmla="*/ 148 w 588"/>
              <a:gd name="T1" fmla="*/ 0 h 1172"/>
              <a:gd name="T2" fmla="*/ 0 w 588"/>
              <a:gd name="T3" fmla="*/ 0 h 1172"/>
              <a:gd name="T4" fmla="*/ 0 w 588"/>
              <a:gd name="T5" fmla="*/ 147 h 1172"/>
              <a:gd name="T6" fmla="*/ 0 w 588"/>
              <a:gd name="T7" fmla="*/ 197 h 1172"/>
              <a:gd name="T8" fmla="*/ 0 w 588"/>
              <a:gd name="T9" fmla="*/ 587 h 1172"/>
              <a:gd name="T10" fmla="*/ 0 w 588"/>
              <a:gd name="T11" fmla="*/ 1172 h 1172"/>
              <a:gd name="T12" fmla="*/ 441 w 588"/>
              <a:gd name="T13" fmla="*/ 1172 h 1172"/>
              <a:gd name="T14" fmla="*/ 588 w 588"/>
              <a:gd name="T15" fmla="*/ 1172 h 1172"/>
              <a:gd name="T16" fmla="*/ 588 w 588"/>
              <a:gd name="T17" fmla="*/ 977 h 1172"/>
              <a:gd name="T18" fmla="*/ 588 w 588"/>
              <a:gd name="T19" fmla="*/ 782 h 1172"/>
              <a:gd name="T20" fmla="*/ 588 w 588"/>
              <a:gd name="T21" fmla="*/ 587 h 1172"/>
              <a:gd name="T22" fmla="*/ 588 w 588"/>
              <a:gd name="T23" fmla="*/ 147 h 1172"/>
              <a:gd name="T24" fmla="*/ 588 w 588"/>
              <a:gd name="T25" fmla="*/ 0 h 1172"/>
              <a:gd name="T26" fmla="*/ 148 w 588"/>
              <a:gd name="T27" fmla="*/ 0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88" h="1172">
                <a:moveTo>
                  <a:pt x="148" y="0"/>
                </a:moveTo>
                <a:lnTo>
                  <a:pt x="0" y="0"/>
                </a:lnTo>
                <a:lnTo>
                  <a:pt x="0" y="147"/>
                </a:lnTo>
                <a:lnTo>
                  <a:pt x="0" y="197"/>
                </a:lnTo>
                <a:lnTo>
                  <a:pt x="0" y="587"/>
                </a:lnTo>
                <a:lnTo>
                  <a:pt x="0" y="1172"/>
                </a:lnTo>
                <a:lnTo>
                  <a:pt x="441" y="1172"/>
                </a:lnTo>
                <a:lnTo>
                  <a:pt x="588" y="1172"/>
                </a:lnTo>
                <a:lnTo>
                  <a:pt x="588" y="977"/>
                </a:lnTo>
                <a:lnTo>
                  <a:pt x="588" y="782"/>
                </a:lnTo>
                <a:lnTo>
                  <a:pt x="588" y="587"/>
                </a:lnTo>
                <a:lnTo>
                  <a:pt x="588" y="147"/>
                </a:lnTo>
                <a:lnTo>
                  <a:pt x="588" y="0"/>
                </a:lnTo>
                <a:lnTo>
                  <a:pt x="14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6" name="Rectangle 250">
            <a:extLst>
              <a:ext uri="{FF2B5EF4-FFF2-40B4-BE49-F238E27FC236}">
                <a16:creationId xmlns:a16="http://schemas.microsoft.com/office/drawing/2014/main" id="{8757E58A-4B31-457E-BCCB-C2A92B301EBE}"/>
              </a:ext>
            </a:extLst>
          </p:cNvPr>
          <p:cNvSpPr/>
          <p:nvPr/>
        </p:nvSpPr>
        <p:spPr>
          <a:xfrm>
            <a:off x="2513032" y="4602971"/>
            <a:ext cx="1058126" cy="265569"/>
          </a:xfrm>
          <a:custGeom>
            <a:avLst/>
            <a:gdLst>
              <a:gd name="connsiteX0" fmla="*/ 0 w 2036314"/>
              <a:gd name="connsiteY0" fmla="*/ 0 h 419405"/>
              <a:gd name="connsiteX1" fmla="*/ 2036314 w 2036314"/>
              <a:gd name="connsiteY1" fmla="*/ 0 h 419405"/>
              <a:gd name="connsiteX2" fmla="*/ 2036314 w 2036314"/>
              <a:gd name="connsiteY2" fmla="*/ 419405 h 419405"/>
              <a:gd name="connsiteX3" fmla="*/ 0 w 2036314"/>
              <a:gd name="connsiteY3" fmla="*/ 419405 h 419405"/>
              <a:gd name="connsiteX4" fmla="*/ 0 w 2036314"/>
              <a:gd name="connsiteY4" fmla="*/ 0 h 419405"/>
              <a:gd name="connsiteX0" fmla="*/ 68580 w 2104894"/>
              <a:gd name="connsiteY0" fmla="*/ 0 h 457505"/>
              <a:gd name="connsiteX1" fmla="*/ 2104894 w 2104894"/>
              <a:gd name="connsiteY1" fmla="*/ 0 h 457505"/>
              <a:gd name="connsiteX2" fmla="*/ 2104894 w 2104894"/>
              <a:gd name="connsiteY2" fmla="*/ 419405 h 457505"/>
              <a:gd name="connsiteX3" fmla="*/ 0 w 2104894"/>
              <a:gd name="connsiteY3" fmla="*/ 457505 h 457505"/>
              <a:gd name="connsiteX4" fmla="*/ 68580 w 2104894"/>
              <a:gd name="connsiteY4" fmla="*/ 0 h 457505"/>
              <a:gd name="connsiteX0" fmla="*/ 121920 w 2104894"/>
              <a:gd name="connsiteY0" fmla="*/ 7620 h 457505"/>
              <a:gd name="connsiteX1" fmla="*/ 2104894 w 2104894"/>
              <a:gd name="connsiteY1" fmla="*/ 0 h 457505"/>
              <a:gd name="connsiteX2" fmla="*/ 2104894 w 2104894"/>
              <a:gd name="connsiteY2" fmla="*/ 419405 h 457505"/>
              <a:gd name="connsiteX3" fmla="*/ 0 w 2104894"/>
              <a:gd name="connsiteY3" fmla="*/ 457505 h 457505"/>
              <a:gd name="connsiteX4" fmla="*/ 121920 w 2104894"/>
              <a:gd name="connsiteY4" fmla="*/ 7620 h 457505"/>
              <a:gd name="connsiteX0" fmla="*/ 121920 w 2104894"/>
              <a:gd name="connsiteY0" fmla="*/ 7620 h 465125"/>
              <a:gd name="connsiteX1" fmla="*/ 2104894 w 2104894"/>
              <a:gd name="connsiteY1" fmla="*/ 0 h 465125"/>
              <a:gd name="connsiteX2" fmla="*/ 2104894 w 2104894"/>
              <a:gd name="connsiteY2" fmla="*/ 465125 h 465125"/>
              <a:gd name="connsiteX3" fmla="*/ 0 w 2104894"/>
              <a:gd name="connsiteY3" fmla="*/ 457505 h 465125"/>
              <a:gd name="connsiteX4" fmla="*/ 121920 w 2104894"/>
              <a:gd name="connsiteY4" fmla="*/ 7620 h 465125"/>
              <a:gd name="connsiteX0" fmla="*/ 83820 w 2104894"/>
              <a:gd name="connsiteY0" fmla="*/ 0 h 465125"/>
              <a:gd name="connsiteX1" fmla="*/ 2104894 w 2104894"/>
              <a:gd name="connsiteY1" fmla="*/ 0 h 465125"/>
              <a:gd name="connsiteX2" fmla="*/ 2104894 w 2104894"/>
              <a:gd name="connsiteY2" fmla="*/ 465125 h 465125"/>
              <a:gd name="connsiteX3" fmla="*/ 0 w 2104894"/>
              <a:gd name="connsiteY3" fmla="*/ 457505 h 465125"/>
              <a:gd name="connsiteX4" fmla="*/ 83820 w 2104894"/>
              <a:gd name="connsiteY4" fmla="*/ 0 h 465125"/>
              <a:gd name="connsiteX0" fmla="*/ 22269 w 2104894"/>
              <a:gd name="connsiteY0" fmla="*/ 3459 h 465125"/>
              <a:gd name="connsiteX1" fmla="*/ 2104894 w 2104894"/>
              <a:gd name="connsiteY1" fmla="*/ 0 h 465125"/>
              <a:gd name="connsiteX2" fmla="*/ 2104894 w 2104894"/>
              <a:gd name="connsiteY2" fmla="*/ 465125 h 465125"/>
              <a:gd name="connsiteX3" fmla="*/ 0 w 2104894"/>
              <a:gd name="connsiteY3" fmla="*/ 457505 h 465125"/>
              <a:gd name="connsiteX4" fmla="*/ 22269 w 2104894"/>
              <a:gd name="connsiteY4" fmla="*/ 3459 h 465125"/>
              <a:gd name="connsiteX0" fmla="*/ 0 w 2082625"/>
              <a:gd name="connsiteY0" fmla="*/ 3459 h 465125"/>
              <a:gd name="connsiteX1" fmla="*/ 2082625 w 2082625"/>
              <a:gd name="connsiteY1" fmla="*/ 0 h 465125"/>
              <a:gd name="connsiteX2" fmla="*/ 2082625 w 2082625"/>
              <a:gd name="connsiteY2" fmla="*/ 465125 h 465125"/>
              <a:gd name="connsiteX3" fmla="*/ 3647 w 2082625"/>
              <a:gd name="connsiteY3" fmla="*/ 457505 h 465125"/>
              <a:gd name="connsiteX4" fmla="*/ 0 w 2082625"/>
              <a:gd name="connsiteY4" fmla="*/ 3459 h 465125"/>
              <a:gd name="connsiteX0" fmla="*/ 6191 w 2088816"/>
              <a:gd name="connsiteY0" fmla="*/ 3459 h 465125"/>
              <a:gd name="connsiteX1" fmla="*/ 2088816 w 2088816"/>
              <a:gd name="connsiteY1" fmla="*/ 0 h 465125"/>
              <a:gd name="connsiteX2" fmla="*/ 2088816 w 2088816"/>
              <a:gd name="connsiteY2" fmla="*/ 465125 h 465125"/>
              <a:gd name="connsiteX3" fmla="*/ 119 w 2088816"/>
              <a:gd name="connsiteY3" fmla="*/ 454046 h 465125"/>
              <a:gd name="connsiteX4" fmla="*/ 6191 w 2088816"/>
              <a:gd name="connsiteY4" fmla="*/ 3459 h 46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8816" h="465125">
                <a:moveTo>
                  <a:pt x="6191" y="3459"/>
                </a:moveTo>
                <a:lnTo>
                  <a:pt x="2088816" y="0"/>
                </a:lnTo>
                <a:lnTo>
                  <a:pt x="2088816" y="465125"/>
                </a:lnTo>
                <a:lnTo>
                  <a:pt x="119" y="454046"/>
                </a:lnTo>
                <a:cubicBezTo>
                  <a:pt x="-1097" y="302697"/>
                  <a:pt x="7407" y="154808"/>
                  <a:pt x="6191" y="3459"/>
                </a:cubicBezTo>
                <a:close/>
              </a:path>
            </a:pathLst>
          </a:custGeom>
          <a:solidFill>
            <a:srgbClr val="11B4F0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A9BCBAB8-068A-469D-8691-EE6A12D65B8A}"/>
              </a:ext>
            </a:extLst>
          </p:cNvPr>
          <p:cNvSpPr txBox="1"/>
          <p:nvPr/>
        </p:nvSpPr>
        <p:spPr>
          <a:xfrm>
            <a:off x="2550464" y="4628274"/>
            <a:ext cx="1051234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chosen “ship to store” to qualify</a:t>
            </a:r>
          </a:p>
        </p:txBody>
      </p:sp>
      <p:grpSp>
        <p:nvGrpSpPr>
          <p:cNvPr id="548" name="Group 547">
            <a:extLst>
              <a:ext uri="{FF2B5EF4-FFF2-40B4-BE49-F238E27FC236}">
                <a16:creationId xmlns:a16="http://schemas.microsoft.com/office/drawing/2014/main" id="{1F470FC3-C768-472D-80AB-12A02C53EBF3}"/>
              </a:ext>
            </a:extLst>
          </p:cNvPr>
          <p:cNvGrpSpPr/>
          <p:nvPr/>
        </p:nvGrpSpPr>
        <p:grpSpPr>
          <a:xfrm>
            <a:off x="1091541" y="1361351"/>
            <a:ext cx="615238" cy="615238"/>
            <a:chOff x="256957" y="1184993"/>
            <a:chExt cx="797740" cy="797740"/>
          </a:xfrm>
        </p:grpSpPr>
        <p:sp>
          <p:nvSpPr>
            <p:cNvPr id="319" name="Oval 32">
              <a:extLst>
                <a:ext uri="{FF2B5EF4-FFF2-40B4-BE49-F238E27FC236}">
                  <a16:creationId xmlns:a16="http://schemas.microsoft.com/office/drawing/2014/main" id="{3521BDCE-ACE1-4906-9782-8914D6542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957" y="1184993"/>
              <a:ext cx="797740" cy="797740"/>
            </a:xfrm>
            <a:prstGeom prst="ellipse">
              <a:avLst/>
            </a:prstGeom>
            <a:solidFill>
              <a:srgbClr val="56CCE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0" name="Freeform 33">
              <a:extLst>
                <a:ext uri="{FF2B5EF4-FFF2-40B4-BE49-F238E27FC236}">
                  <a16:creationId xmlns:a16="http://schemas.microsoft.com/office/drawing/2014/main" id="{F0FD7BD6-23E7-401A-8039-6763C6105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097" y="1325459"/>
              <a:ext cx="523435" cy="516808"/>
            </a:xfrm>
            <a:custGeom>
              <a:avLst/>
              <a:gdLst>
                <a:gd name="T0" fmla="*/ 31 w 294"/>
                <a:gd name="T1" fmla="*/ 31 h 291"/>
                <a:gd name="T2" fmla="*/ 0 w 294"/>
                <a:gd name="T3" fmla="*/ 105 h 291"/>
                <a:gd name="T4" fmla="*/ 31 w 294"/>
                <a:gd name="T5" fmla="*/ 179 h 291"/>
                <a:gd name="T6" fmla="*/ 105 w 294"/>
                <a:gd name="T7" fmla="*/ 209 h 291"/>
                <a:gd name="T8" fmla="*/ 169 w 294"/>
                <a:gd name="T9" fmla="*/ 187 h 291"/>
                <a:gd name="T10" fmla="*/ 189 w 294"/>
                <a:gd name="T11" fmla="*/ 207 h 291"/>
                <a:gd name="T12" fmla="*/ 187 w 294"/>
                <a:gd name="T13" fmla="*/ 209 h 291"/>
                <a:gd name="T14" fmla="*/ 187 w 294"/>
                <a:gd name="T15" fmla="*/ 220 h 291"/>
                <a:gd name="T16" fmla="*/ 252 w 294"/>
                <a:gd name="T17" fmla="*/ 284 h 291"/>
                <a:gd name="T18" fmla="*/ 268 w 294"/>
                <a:gd name="T19" fmla="*/ 291 h 291"/>
                <a:gd name="T20" fmla="*/ 285 w 294"/>
                <a:gd name="T21" fmla="*/ 284 h 291"/>
                <a:gd name="T22" fmla="*/ 285 w 294"/>
                <a:gd name="T23" fmla="*/ 251 h 291"/>
                <a:gd name="T24" fmla="*/ 220 w 294"/>
                <a:gd name="T25" fmla="*/ 187 h 291"/>
                <a:gd name="T26" fmla="*/ 210 w 294"/>
                <a:gd name="T27" fmla="*/ 187 h 291"/>
                <a:gd name="T28" fmla="*/ 208 w 294"/>
                <a:gd name="T29" fmla="*/ 189 h 291"/>
                <a:gd name="T30" fmla="*/ 188 w 294"/>
                <a:gd name="T31" fmla="*/ 169 h 291"/>
                <a:gd name="T32" fmla="*/ 210 w 294"/>
                <a:gd name="T33" fmla="*/ 105 h 291"/>
                <a:gd name="T34" fmla="*/ 179 w 294"/>
                <a:gd name="T35" fmla="*/ 31 h 291"/>
                <a:gd name="T36" fmla="*/ 105 w 294"/>
                <a:gd name="T37" fmla="*/ 0 h 291"/>
                <a:gd name="T38" fmla="*/ 31 w 294"/>
                <a:gd name="T39" fmla="*/ 31 h 291"/>
                <a:gd name="T40" fmla="*/ 41 w 294"/>
                <a:gd name="T41" fmla="*/ 168 h 291"/>
                <a:gd name="T42" fmla="*/ 15 w 294"/>
                <a:gd name="T43" fmla="*/ 105 h 291"/>
                <a:gd name="T44" fmla="*/ 41 w 294"/>
                <a:gd name="T45" fmla="*/ 41 h 291"/>
                <a:gd name="T46" fmla="*/ 105 w 294"/>
                <a:gd name="T47" fmla="*/ 14 h 291"/>
                <a:gd name="T48" fmla="*/ 169 w 294"/>
                <a:gd name="T49" fmla="*/ 41 h 291"/>
                <a:gd name="T50" fmla="*/ 195 w 294"/>
                <a:gd name="T51" fmla="*/ 105 h 291"/>
                <a:gd name="T52" fmla="*/ 169 w 294"/>
                <a:gd name="T53" fmla="*/ 168 h 291"/>
                <a:gd name="T54" fmla="*/ 105 w 294"/>
                <a:gd name="T55" fmla="*/ 195 h 291"/>
                <a:gd name="T56" fmla="*/ 41 w 294"/>
                <a:gd name="T57" fmla="*/ 168 h 291"/>
                <a:gd name="T58" fmla="*/ 100 w 294"/>
                <a:gd name="T59" fmla="*/ 32 h 291"/>
                <a:gd name="T60" fmla="*/ 108 w 294"/>
                <a:gd name="T61" fmla="*/ 26 h 291"/>
                <a:gd name="T62" fmla="*/ 144 w 294"/>
                <a:gd name="T63" fmla="*/ 39 h 291"/>
                <a:gd name="T64" fmla="*/ 180 w 294"/>
                <a:gd name="T65" fmla="*/ 105 h 291"/>
                <a:gd name="T66" fmla="*/ 173 w 294"/>
                <a:gd name="T67" fmla="*/ 112 h 291"/>
                <a:gd name="T68" fmla="*/ 165 w 294"/>
                <a:gd name="T69" fmla="*/ 105 h 291"/>
                <a:gd name="T70" fmla="*/ 106 w 294"/>
                <a:gd name="T71" fmla="*/ 40 h 291"/>
                <a:gd name="T72" fmla="*/ 100 w 294"/>
                <a:gd name="T73" fmla="*/ 32 h 291"/>
                <a:gd name="T74" fmla="*/ 100 w 294"/>
                <a:gd name="T75" fmla="*/ 32 h 291"/>
                <a:gd name="T76" fmla="*/ 100 w 294"/>
                <a:gd name="T77" fmla="*/ 32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4" h="291">
                  <a:moveTo>
                    <a:pt x="31" y="31"/>
                  </a:moveTo>
                  <a:cubicBezTo>
                    <a:pt x="11" y="50"/>
                    <a:pt x="0" y="77"/>
                    <a:pt x="0" y="105"/>
                  </a:cubicBezTo>
                  <a:cubicBezTo>
                    <a:pt x="0" y="133"/>
                    <a:pt x="11" y="159"/>
                    <a:pt x="31" y="179"/>
                  </a:cubicBezTo>
                  <a:cubicBezTo>
                    <a:pt x="51" y="198"/>
                    <a:pt x="77" y="209"/>
                    <a:pt x="105" y="209"/>
                  </a:cubicBezTo>
                  <a:cubicBezTo>
                    <a:pt x="129" y="209"/>
                    <a:pt x="151" y="201"/>
                    <a:pt x="169" y="187"/>
                  </a:cubicBezTo>
                  <a:cubicBezTo>
                    <a:pt x="189" y="207"/>
                    <a:pt x="189" y="207"/>
                    <a:pt x="189" y="207"/>
                  </a:cubicBezTo>
                  <a:cubicBezTo>
                    <a:pt x="187" y="209"/>
                    <a:pt x="187" y="209"/>
                    <a:pt x="187" y="209"/>
                  </a:cubicBezTo>
                  <a:cubicBezTo>
                    <a:pt x="184" y="212"/>
                    <a:pt x="184" y="217"/>
                    <a:pt x="187" y="220"/>
                  </a:cubicBezTo>
                  <a:cubicBezTo>
                    <a:pt x="252" y="284"/>
                    <a:pt x="252" y="284"/>
                    <a:pt x="252" y="284"/>
                  </a:cubicBezTo>
                  <a:cubicBezTo>
                    <a:pt x="256" y="288"/>
                    <a:pt x="262" y="291"/>
                    <a:pt x="268" y="291"/>
                  </a:cubicBezTo>
                  <a:cubicBezTo>
                    <a:pt x="274" y="291"/>
                    <a:pt x="280" y="288"/>
                    <a:pt x="285" y="284"/>
                  </a:cubicBezTo>
                  <a:cubicBezTo>
                    <a:pt x="294" y="275"/>
                    <a:pt x="294" y="260"/>
                    <a:pt x="285" y="251"/>
                  </a:cubicBezTo>
                  <a:cubicBezTo>
                    <a:pt x="220" y="187"/>
                    <a:pt x="220" y="187"/>
                    <a:pt x="220" y="187"/>
                  </a:cubicBezTo>
                  <a:cubicBezTo>
                    <a:pt x="217" y="184"/>
                    <a:pt x="213" y="184"/>
                    <a:pt x="210" y="187"/>
                  </a:cubicBezTo>
                  <a:cubicBezTo>
                    <a:pt x="208" y="189"/>
                    <a:pt x="208" y="189"/>
                    <a:pt x="208" y="189"/>
                  </a:cubicBezTo>
                  <a:cubicBezTo>
                    <a:pt x="188" y="169"/>
                    <a:pt x="188" y="169"/>
                    <a:pt x="188" y="169"/>
                  </a:cubicBezTo>
                  <a:cubicBezTo>
                    <a:pt x="202" y="150"/>
                    <a:pt x="210" y="128"/>
                    <a:pt x="210" y="105"/>
                  </a:cubicBezTo>
                  <a:cubicBezTo>
                    <a:pt x="210" y="77"/>
                    <a:pt x="199" y="50"/>
                    <a:pt x="179" y="31"/>
                  </a:cubicBezTo>
                  <a:cubicBezTo>
                    <a:pt x="159" y="11"/>
                    <a:pt x="133" y="0"/>
                    <a:pt x="105" y="0"/>
                  </a:cubicBezTo>
                  <a:cubicBezTo>
                    <a:pt x="77" y="0"/>
                    <a:pt x="51" y="11"/>
                    <a:pt x="31" y="31"/>
                  </a:cubicBezTo>
                  <a:close/>
                  <a:moveTo>
                    <a:pt x="41" y="168"/>
                  </a:moveTo>
                  <a:cubicBezTo>
                    <a:pt x="24" y="151"/>
                    <a:pt x="15" y="129"/>
                    <a:pt x="15" y="105"/>
                  </a:cubicBezTo>
                  <a:cubicBezTo>
                    <a:pt x="15" y="80"/>
                    <a:pt x="24" y="58"/>
                    <a:pt x="41" y="41"/>
                  </a:cubicBezTo>
                  <a:cubicBezTo>
                    <a:pt x="58" y="24"/>
                    <a:pt x="81" y="14"/>
                    <a:pt x="105" y="14"/>
                  </a:cubicBezTo>
                  <a:cubicBezTo>
                    <a:pt x="129" y="14"/>
                    <a:pt x="152" y="24"/>
                    <a:pt x="169" y="41"/>
                  </a:cubicBezTo>
                  <a:cubicBezTo>
                    <a:pt x="186" y="58"/>
                    <a:pt x="195" y="80"/>
                    <a:pt x="195" y="105"/>
                  </a:cubicBezTo>
                  <a:cubicBezTo>
                    <a:pt x="195" y="129"/>
                    <a:pt x="186" y="151"/>
                    <a:pt x="169" y="168"/>
                  </a:cubicBezTo>
                  <a:cubicBezTo>
                    <a:pt x="152" y="186"/>
                    <a:pt x="129" y="195"/>
                    <a:pt x="105" y="195"/>
                  </a:cubicBezTo>
                  <a:cubicBezTo>
                    <a:pt x="81" y="195"/>
                    <a:pt x="58" y="186"/>
                    <a:pt x="41" y="168"/>
                  </a:cubicBezTo>
                  <a:close/>
                  <a:moveTo>
                    <a:pt x="100" y="32"/>
                  </a:moveTo>
                  <a:cubicBezTo>
                    <a:pt x="101" y="28"/>
                    <a:pt x="104" y="26"/>
                    <a:pt x="108" y="26"/>
                  </a:cubicBezTo>
                  <a:cubicBezTo>
                    <a:pt x="109" y="26"/>
                    <a:pt x="126" y="29"/>
                    <a:pt x="144" y="39"/>
                  </a:cubicBezTo>
                  <a:cubicBezTo>
                    <a:pt x="160" y="50"/>
                    <a:pt x="180" y="69"/>
                    <a:pt x="180" y="105"/>
                  </a:cubicBezTo>
                  <a:cubicBezTo>
                    <a:pt x="180" y="109"/>
                    <a:pt x="177" y="112"/>
                    <a:pt x="173" y="112"/>
                  </a:cubicBezTo>
                  <a:cubicBezTo>
                    <a:pt x="169" y="112"/>
                    <a:pt x="165" y="109"/>
                    <a:pt x="165" y="105"/>
                  </a:cubicBezTo>
                  <a:cubicBezTo>
                    <a:pt x="165" y="49"/>
                    <a:pt x="109" y="41"/>
                    <a:pt x="106" y="40"/>
                  </a:cubicBezTo>
                  <a:cubicBezTo>
                    <a:pt x="102" y="40"/>
                    <a:pt x="100" y="36"/>
                    <a:pt x="100" y="32"/>
                  </a:cubicBezTo>
                  <a:close/>
                  <a:moveTo>
                    <a:pt x="100" y="32"/>
                  </a:moveTo>
                  <a:cubicBezTo>
                    <a:pt x="100" y="32"/>
                    <a:pt x="100" y="32"/>
                    <a:pt x="100" y="3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50" name="Group 549">
            <a:extLst>
              <a:ext uri="{FF2B5EF4-FFF2-40B4-BE49-F238E27FC236}">
                <a16:creationId xmlns:a16="http://schemas.microsoft.com/office/drawing/2014/main" id="{A0656896-E793-4387-AC7D-88DF961E0854}"/>
              </a:ext>
            </a:extLst>
          </p:cNvPr>
          <p:cNvGrpSpPr/>
          <p:nvPr/>
        </p:nvGrpSpPr>
        <p:grpSpPr>
          <a:xfrm>
            <a:off x="1151730" y="3146793"/>
            <a:ext cx="637882" cy="636824"/>
            <a:chOff x="313788" y="3052341"/>
            <a:chExt cx="827100" cy="825728"/>
          </a:xfrm>
        </p:grpSpPr>
        <p:sp>
          <p:nvSpPr>
            <p:cNvPr id="322" name="Oval 34">
              <a:extLst>
                <a:ext uri="{FF2B5EF4-FFF2-40B4-BE49-F238E27FC236}">
                  <a16:creationId xmlns:a16="http://schemas.microsoft.com/office/drawing/2014/main" id="{25DE52FC-0429-4C1F-AAE3-7D7061D03F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788" y="3052341"/>
              <a:ext cx="827100" cy="825728"/>
            </a:xfrm>
            <a:prstGeom prst="ellipse">
              <a:avLst/>
            </a:prstGeom>
            <a:solidFill>
              <a:srgbClr val="08B2F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3" name="Freeform 35">
              <a:extLst>
                <a:ext uri="{FF2B5EF4-FFF2-40B4-BE49-F238E27FC236}">
                  <a16:creationId xmlns:a16="http://schemas.microsoft.com/office/drawing/2014/main" id="{9FC44507-1CC5-4954-9B5E-8A4AC87798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9980" y="3197735"/>
              <a:ext cx="574718" cy="537683"/>
            </a:xfrm>
            <a:custGeom>
              <a:avLst/>
              <a:gdLst>
                <a:gd name="T0" fmla="*/ 281 w 312"/>
                <a:gd name="T1" fmla="*/ 39 h 292"/>
                <a:gd name="T2" fmla="*/ 75 w 312"/>
                <a:gd name="T3" fmla="*/ 43 h 292"/>
                <a:gd name="T4" fmla="*/ 53 w 312"/>
                <a:gd name="T5" fmla="*/ 0 h 292"/>
                <a:gd name="T6" fmla="*/ 0 w 312"/>
                <a:gd name="T7" fmla="*/ 10 h 292"/>
                <a:gd name="T8" fmla="*/ 10 w 312"/>
                <a:gd name="T9" fmla="*/ 21 h 292"/>
                <a:gd name="T10" fmla="*/ 66 w 312"/>
                <a:gd name="T11" fmla="*/ 87 h 292"/>
                <a:gd name="T12" fmla="*/ 66 w 312"/>
                <a:gd name="T13" fmla="*/ 213 h 292"/>
                <a:gd name="T14" fmla="*/ 96 w 312"/>
                <a:gd name="T15" fmla="*/ 260 h 292"/>
                <a:gd name="T16" fmla="*/ 163 w 312"/>
                <a:gd name="T17" fmla="*/ 258 h 292"/>
                <a:gd name="T18" fmla="*/ 200 w 312"/>
                <a:gd name="T19" fmla="*/ 247 h 292"/>
                <a:gd name="T20" fmla="*/ 229 w 312"/>
                <a:gd name="T21" fmla="*/ 291 h 292"/>
                <a:gd name="T22" fmla="*/ 231 w 312"/>
                <a:gd name="T23" fmla="*/ 224 h 292"/>
                <a:gd name="T24" fmla="*/ 89 w 312"/>
                <a:gd name="T25" fmla="*/ 213 h 292"/>
                <a:gd name="T26" fmla="*/ 256 w 312"/>
                <a:gd name="T27" fmla="*/ 201 h 292"/>
                <a:gd name="T28" fmla="*/ 309 w 312"/>
                <a:gd name="T29" fmla="*/ 75 h 292"/>
                <a:gd name="T30" fmla="*/ 231 w 312"/>
                <a:gd name="T31" fmla="*/ 247 h 292"/>
                <a:gd name="T32" fmla="*/ 231 w 312"/>
                <a:gd name="T33" fmla="*/ 269 h 292"/>
                <a:gd name="T34" fmla="*/ 231 w 312"/>
                <a:gd name="T35" fmla="*/ 247 h 292"/>
                <a:gd name="T36" fmla="*/ 141 w 312"/>
                <a:gd name="T37" fmla="*/ 258 h 292"/>
                <a:gd name="T38" fmla="*/ 119 w 312"/>
                <a:gd name="T39" fmla="*/ 258 h 292"/>
                <a:gd name="T40" fmla="*/ 89 w 312"/>
                <a:gd name="T41" fmla="*/ 87 h 292"/>
                <a:gd name="T42" fmla="*/ 85 w 312"/>
                <a:gd name="T43" fmla="*/ 64 h 292"/>
                <a:gd name="T44" fmla="*/ 111 w 312"/>
                <a:gd name="T45" fmla="*/ 61 h 292"/>
                <a:gd name="T46" fmla="*/ 89 w 312"/>
                <a:gd name="T47" fmla="*/ 87 h 292"/>
                <a:gd name="T48" fmla="*/ 122 w 312"/>
                <a:gd name="T49" fmla="*/ 110 h 292"/>
                <a:gd name="T50" fmla="*/ 102 w 312"/>
                <a:gd name="T51" fmla="*/ 134 h 292"/>
                <a:gd name="T52" fmla="*/ 120 w 312"/>
                <a:gd name="T53" fmla="*/ 179 h 292"/>
                <a:gd name="T54" fmla="*/ 109 w 312"/>
                <a:gd name="T55" fmla="*/ 156 h 292"/>
                <a:gd name="T56" fmla="*/ 137 w 312"/>
                <a:gd name="T57" fmla="*/ 178 h 292"/>
                <a:gd name="T58" fmla="*/ 120 w 312"/>
                <a:gd name="T59" fmla="*/ 179 h 292"/>
                <a:gd name="T60" fmla="*/ 160 w 312"/>
                <a:gd name="T61" fmla="*/ 179 h 292"/>
                <a:gd name="T62" fmla="*/ 176 w 312"/>
                <a:gd name="T63" fmla="*/ 156 h 292"/>
                <a:gd name="T64" fmla="*/ 176 w 312"/>
                <a:gd name="T65" fmla="*/ 134 h 292"/>
                <a:gd name="T66" fmla="*/ 145 w 312"/>
                <a:gd name="T67" fmla="*/ 110 h 292"/>
                <a:gd name="T68" fmla="*/ 176 w 312"/>
                <a:gd name="T69" fmla="*/ 134 h 292"/>
                <a:gd name="T70" fmla="*/ 140 w 312"/>
                <a:gd name="T71" fmla="*/ 87 h 292"/>
                <a:gd name="T72" fmla="*/ 176 w 312"/>
                <a:gd name="T73" fmla="*/ 61 h 292"/>
                <a:gd name="T74" fmla="*/ 216 w 312"/>
                <a:gd name="T75" fmla="*/ 179 h 292"/>
                <a:gd name="T76" fmla="*/ 198 w 312"/>
                <a:gd name="T77" fmla="*/ 156 h 292"/>
                <a:gd name="T78" fmla="*/ 216 w 312"/>
                <a:gd name="T79" fmla="*/ 179 h 292"/>
                <a:gd name="T80" fmla="*/ 198 w 312"/>
                <a:gd name="T81" fmla="*/ 134 h 292"/>
                <a:gd name="T82" fmla="*/ 230 w 312"/>
                <a:gd name="T83" fmla="*/ 110 h 292"/>
                <a:gd name="T84" fmla="*/ 198 w 312"/>
                <a:gd name="T85" fmla="*/ 87 h 292"/>
                <a:gd name="T86" fmla="*/ 240 w 312"/>
                <a:gd name="T87" fmla="*/ 61 h 292"/>
                <a:gd name="T88" fmla="*/ 198 w 312"/>
                <a:gd name="T89" fmla="*/ 87 h 292"/>
                <a:gd name="T90" fmla="*/ 256 w 312"/>
                <a:gd name="T91" fmla="*/ 179 h 292"/>
                <a:gd name="T92" fmla="*/ 243 w 312"/>
                <a:gd name="T93" fmla="*/ 156 h 292"/>
                <a:gd name="T94" fmla="*/ 262 w 312"/>
                <a:gd name="T95" fmla="*/ 174 h 292"/>
                <a:gd name="T96" fmla="*/ 248 w 312"/>
                <a:gd name="T97" fmla="*/ 134 h 292"/>
                <a:gd name="T98" fmla="*/ 278 w 312"/>
                <a:gd name="T99" fmla="*/ 110 h 292"/>
                <a:gd name="T100" fmla="*/ 288 w 312"/>
                <a:gd name="T101" fmla="*/ 69 h 292"/>
                <a:gd name="T102" fmla="*/ 258 w 312"/>
                <a:gd name="T103" fmla="*/ 87 h 292"/>
                <a:gd name="T104" fmla="*/ 282 w 312"/>
                <a:gd name="T105" fmla="*/ 61 h 292"/>
                <a:gd name="T106" fmla="*/ 288 w 312"/>
                <a:gd name="T107" fmla="*/ 69 h 292"/>
                <a:gd name="T108" fmla="*/ 288 w 312"/>
                <a:gd name="T109" fmla="*/ 69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2" h="292">
                  <a:moveTo>
                    <a:pt x="304" y="50"/>
                  </a:moveTo>
                  <a:cubicBezTo>
                    <a:pt x="298" y="43"/>
                    <a:pt x="290" y="39"/>
                    <a:pt x="281" y="39"/>
                  </a:cubicBezTo>
                  <a:cubicBezTo>
                    <a:pt x="91" y="39"/>
                    <a:pt x="91" y="39"/>
                    <a:pt x="91" y="39"/>
                  </a:cubicBezTo>
                  <a:cubicBezTo>
                    <a:pt x="85" y="39"/>
                    <a:pt x="80" y="41"/>
                    <a:pt x="75" y="43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4" y="4"/>
                    <a:pt x="59" y="0"/>
                    <a:pt x="5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6"/>
                    <a:pt x="5" y="21"/>
                    <a:pt x="10" y="21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66" y="87"/>
                    <a:pt x="66" y="87"/>
                    <a:pt x="66" y="87"/>
                  </a:cubicBezTo>
                  <a:cubicBezTo>
                    <a:pt x="92" y="180"/>
                    <a:pt x="92" y="180"/>
                    <a:pt x="92" y="180"/>
                  </a:cubicBezTo>
                  <a:cubicBezTo>
                    <a:pt x="77" y="183"/>
                    <a:pt x="66" y="197"/>
                    <a:pt x="66" y="213"/>
                  </a:cubicBezTo>
                  <a:cubicBezTo>
                    <a:pt x="66" y="231"/>
                    <a:pt x="80" y="245"/>
                    <a:pt x="98" y="247"/>
                  </a:cubicBezTo>
                  <a:cubicBezTo>
                    <a:pt x="97" y="251"/>
                    <a:pt x="96" y="256"/>
                    <a:pt x="96" y="260"/>
                  </a:cubicBezTo>
                  <a:cubicBezTo>
                    <a:pt x="98" y="277"/>
                    <a:pt x="111" y="290"/>
                    <a:pt x="127" y="291"/>
                  </a:cubicBezTo>
                  <a:cubicBezTo>
                    <a:pt x="147" y="292"/>
                    <a:pt x="163" y="277"/>
                    <a:pt x="163" y="258"/>
                  </a:cubicBezTo>
                  <a:cubicBezTo>
                    <a:pt x="163" y="254"/>
                    <a:pt x="162" y="250"/>
                    <a:pt x="161" y="247"/>
                  </a:cubicBezTo>
                  <a:cubicBezTo>
                    <a:pt x="200" y="247"/>
                    <a:pt x="200" y="247"/>
                    <a:pt x="200" y="247"/>
                  </a:cubicBezTo>
                  <a:cubicBezTo>
                    <a:pt x="198" y="251"/>
                    <a:pt x="198" y="256"/>
                    <a:pt x="198" y="261"/>
                  </a:cubicBezTo>
                  <a:cubicBezTo>
                    <a:pt x="200" y="277"/>
                    <a:pt x="213" y="290"/>
                    <a:pt x="229" y="291"/>
                  </a:cubicBezTo>
                  <a:cubicBezTo>
                    <a:pt x="248" y="292"/>
                    <a:pt x="265" y="277"/>
                    <a:pt x="265" y="258"/>
                  </a:cubicBezTo>
                  <a:cubicBezTo>
                    <a:pt x="265" y="239"/>
                    <a:pt x="249" y="224"/>
                    <a:pt x="231" y="224"/>
                  </a:cubicBezTo>
                  <a:cubicBezTo>
                    <a:pt x="101" y="224"/>
                    <a:pt x="101" y="224"/>
                    <a:pt x="101" y="224"/>
                  </a:cubicBezTo>
                  <a:cubicBezTo>
                    <a:pt x="94" y="224"/>
                    <a:pt x="89" y="219"/>
                    <a:pt x="89" y="213"/>
                  </a:cubicBezTo>
                  <a:cubicBezTo>
                    <a:pt x="88" y="206"/>
                    <a:pt x="94" y="201"/>
                    <a:pt x="100" y="201"/>
                  </a:cubicBezTo>
                  <a:cubicBezTo>
                    <a:pt x="256" y="201"/>
                    <a:pt x="256" y="201"/>
                    <a:pt x="256" y="201"/>
                  </a:cubicBezTo>
                  <a:cubicBezTo>
                    <a:pt x="269" y="201"/>
                    <a:pt x="280" y="192"/>
                    <a:pt x="284" y="179"/>
                  </a:cubicBezTo>
                  <a:cubicBezTo>
                    <a:pt x="309" y="75"/>
                    <a:pt x="309" y="75"/>
                    <a:pt x="309" y="75"/>
                  </a:cubicBezTo>
                  <a:cubicBezTo>
                    <a:pt x="312" y="66"/>
                    <a:pt x="310" y="57"/>
                    <a:pt x="304" y="50"/>
                  </a:cubicBezTo>
                  <a:close/>
                  <a:moveTo>
                    <a:pt x="231" y="247"/>
                  </a:moveTo>
                  <a:cubicBezTo>
                    <a:pt x="237" y="247"/>
                    <a:pt x="242" y="252"/>
                    <a:pt x="242" y="258"/>
                  </a:cubicBezTo>
                  <a:cubicBezTo>
                    <a:pt x="242" y="264"/>
                    <a:pt x="237" y="269"/>
                    <a:pt x="231" y="269"/>
                  </a:cubicBezTo>
                  <a:cubicBezTo>
                    <a:pt x="225" y="269"/>
                    <a:pt x="220" y="264"/>
                    <a:pt x="220" y="258"/>
                  </a:cubicBezTo>
                  <a:cubicBezTo>
                    <a:pt x="220" y="252"/>
                    <a:pt x="225" y="247"/>
                    <a:pt x="231" y="247"/>
                  </a:cubicBezTo>
                  <a:close/>
                  <a:moveTo>
                    <a:pt x="130" y="247"/>
                  </a:moveTo>
                  <a:cubicBezTo>
                    <a:pt x="136" y="247"/>
                    <a:pt x="141" y="252"/>
                    <a:pt x="141" y="258"/>
                  </a:cubicBezTo>
                  <a:cubicBezTo>
                    <a:pt x="141" y="264"/>
                    <a:pt x="136" y="269"/>
                    <a:pt x="130" y="269"/>
                  </a:cubicBezTo>
                  <a:cubicBezTo>
                    <a:pt x="124" y="269"/>
                    <a:pt x="119" y="264"/>
                    <a:pt x="119" y="258"/>
                  </a:cubicBezTo>
                  <a:cubicBezTo>
                    <a:pt x="119" y="252"/>
                    <a:pt x="123" y="247"/>
                    <a:pt x="130" y="247"/>
                  </a:cubicBezTo>
                  <a:close/>
                  <a:moveTo>
                    <a:pt x="89" y="87"/>
                  </a:moveTo>
                  <a:cubicBezTo>
                    <a:pt x="84" y="70"/>
                    <a:pt x="84" y="70"/>
                    <a:pt x="84" y="70"/>
                  </a:cubicBezTo>
                  <a:cubicBezTo>
                    <a:pt x="84" y="67"/>
                    <a:pt x="85" y="65"/>
                    <a:pt x="85" y="64"/>
                  </a:cubicBezTo>
                  <a:cubicBezTo>
                    <a:pt x="86" y="63"/>
                    <a:pt x="88" y="61"/>
                    <a:pt x="91" y="61"/>
                  </a:cubicBezTo>
                  <a:cubicBezTo>
                    <a:pt x="111" y="61"/>
                    <a:pt x="111" y="61"/>
                    <a:pt x="111" y="61"/>
                  </a:cubicBezTo>
                  <a:cubicBezTo>
                    <a:pt x="117" y="87"/>
                    <a:pt x="117" y="87"/>
                    <a:pt x="117" y="87"/>
                  </a:cubicBezTo>
                  <a:cubicBezTo>
                    <a:pt x="89" y="87"/>
                    <a:pt x="89" y="87"/>
                    <a:pt x="89" y="87"/>
                  </a:cubicBezTo>
                  <a:close/>
                  <a:moveTo>
                    <a:pt x="96" y="110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27" y="134"/>
                    <a:pt x="127" y="134"/>
                    <a:pt x="127" y="134"/>
                  </a:cubicBezTo>
                  <a:cubicBezTo>
                    <a:pt x="102" y="134"/>
                    <a:pt x="102" y="134"/>
                    <a:pt x="102" y="134"/>
                  </a:cubicBezTo>
                  <a:lnTo>
                    <a:pt x="96" y="110"/>
                  </a:lnTo>
                  <a:close/>
                  <a:moveTo>
                    <a:pt x="120" y="179"/>
                  </a:moveTo>
                  <a:cubicBezTo>
                    <a:pt x="117" y="179"/>
                    <a:pt x="114" y="177"/>
                    <a:pt x="114" y="174"/>
                  </a:cubicBezTo>
                  <a:cubicBezTo>
                    <a:pt x="109" y="156"/>
                    <a:pt x="109" y="156"/>
                    <a:pt x="109" y="156"/>
                  </a:cubicBezTo>
                  <a:cubicBezTo>
                    <a:pt x="132" y="156"/>
                    <a:pt x="132" y="156"/>
                    <a:pt x="132" y="156"/>
                  </a:cubicBezTo>
                  <a:cubicBezTo>
                    <a:pt x="137" y="178"/>
                    <a:pt x="137" y="178"/>
                    <a:pt x="137" y="178"/>
                  </a:cubicBezTo>
                  <a:cubicBezTo>
                    <a:pt x="120" y="178"/>
                    <a:pt x="120" y="178"/>
                    <a:pt x="120" y="178"/>
                  </a:cubicBezTo>
                  <a:lnTo>
                    <a:pt x="120" y="179"/>
                  </a:lnTo>
                  <a:close/>
                  <a:moveTo>
                    <a:pt x="176" y="179"/>
                  </a:moveTo>
                  <a:cubicBezTo>
                    <a:pt x="160" y="179"/>
                    <a:pt x="160" y="179"/>
                    <a:pt x="160" y="179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76" y="156"/>
                    <a:pt x="176" y="156"/>
                    <a:pt x="176" y="156"/>
                  </a:cubicBezTo>
                  <a:cubicBezTo>
                    <a:pt x="176" y="179"/>
                    <a:pt x="176" y="179"/>
                    <a:pt x="176" y="179"/>
                  </a:cubicBezTo>
                  <a:close/>
                  <a:moveTo>
                    <a:pt x="176" y="134"/>
                  </a:moveTo>
                  <a:cubicBezTo>
                    <a:pt x="150" y="134"/>
                    <a:pt x="150" y="134"/>
                    <a:pt x="150" y="134"/>
                  </a:cubicBezTo>
                  <a:cubicBezTo>
                    <a:pt x="145" y="110"/>
                    <a:pt x="145" y="110"/>
                    <a:pt x="145" y="110"/>
                  </a:cubicBezTo>
                  <a:cubicBezTo>
                    <a:pt x="176" y="110"/>
                    <a:pt x="176" y="110"/>
                    <a:pt x="176" y="110"/>
                  </a:cubicBezTo>
                  <a:lnTo>
                    <a:pt x="176" y="134"/>
                  </a:lnTo>
                  <a:close/>
                  <a:moveTo>
                    <a:pt x="176" y="87"/>
                  </a:moveTo>
                  <a:cubicBezTo>
                    <a:pt x="140" y="87"/>
                    <a:pt x="140" y="87"/>
                    <a:pt x="140" y="87"/>
                  </a:cubicBezTo>
                  <a:cubicBezTo>
                    <a:pt x="134" y="61"/>
                    <a:pt x="134" y="61"/>
                    <a:pt x="134" y="61"/>
                  </a:cubicBezTo>
                  <a:cubicBezTo>
                    <a:pt x="176" y="61"/>
                    <a:pt x="176" y="61"/>
                    <a:pt x="176" y="61"/>
                  </a:cubicBezTo>
                  <a:lnTo>
                    <a:pt x="176" y="87"/>
                  </a:lnTo>
                  <a:close/>
                  <a:moveTo>
                    <a:pt x="216" y="179"/>
                  </a:moveTo>
                  <a:cubicBezTo>
                    <a:pt x="198" y="179"/>
                    <a:pt x="198" y="179"/>
                    <a:pt x="198" y="179"/>
                  </a:cubicBezTo>
                  <a:cubicBezTo>
                    <a:pt x="198" y="156"/>
                    <a:pt x="198" y="156"/>
                    <a:pt x="198" y="156"/>
                  </a:cubicBezTo>
                  <a:cubicBezTo>
                    <a:pt x="220" y="156"/>
                    <a:pt x="220" y="156"/>
                    <a:pt x="220" y="156"/>
                  </a:cubicBezTo>
                  <a:lnTo>
                    <a:pt x="216" y="179"/>
                  </a:lnTo>
                  <a:close/>
                  <a:moveTo>
                    <a:pt x="225" y="134"/>
                  </a:moveTo>
                  <a:cubicBezTo>
                    <a:pt x="198" y="134"/>
                    <a:pt x="198" y="134"/>
                    <a:pt x="198" y="134"/>
                  </a:cubicBezTo>
                  <a:cubicBezTo>
                    <a:pt x="198" y="110"/>
                    <a:pt x="198" y="110"/>
                    <a:pt x="198" y="110"/>
                  </a:cubicBezTo>
                  <a:cubicBezTo>
                    <a:pt x="230" y="110"/>
                    <a:pt x="230" y="110"/>
                    <a:pt x="230" y="110"/>
                  </a:cubicBezTo>
                  <a:lnTo>
                    <a:pt x="225" y="134"/>
                  </a:lnTo>
                  <a:close/>
                  <a:moveTo>
                    <a:pt x="198" y="87"/>
                  </a:moveTo>
                  <a:cubicBezTo>
                    <a:pt x="198" y="61"/>
                    <a:pt x="198" y="61"/>
                    <a:pt x="198" y="61"/>
                  </a:cubicBezTo>
                  <a:cubicBezTo>
                    <a:pt x="240" y="61"/>
                    <a:pt x="240" y="61"/>
                    <a:pt x="240" y="61"/>
                  </a:cubicBezTo>
                  <a:cubicBezTo>
                    <a:pt x="235" y="87"/>
                    <a:pt x="235" y="87"/>
                    <a:pt x="235" y="87"/>
                  </a:cubicBezTo>
                  <a:lnTo>
                    <a:pt x="198" y="87"/>
                  </a:lnTo>
                  <a:close/>
                  <a:moveTo>
                    <a:pt x="262" y="174"/>
                  </a:moveTo>
                  <a:cubicBezTo>
                    <a:pt x="261" y="177"/>
                    <a:pt x="259" y="179"/>
                    <a:pt x="256" y="179"/>
                  </a:cubicBezTo>
                  <a:cubicBezTo>
                    <a:pt x="239" y="179"/>
                    <a:pt x="239" y="179"/>
                    <a:pt x="239" y="179"/>
                  </a:cubicBezTo>
                  <a:cubicBezTo>
                    <a:pt x="243" y="156"/>
                    <a:pt x="243" y="156"/>
                    <a:pt x="243" y="156"/>
                  </a:cubicBezTo>
                  <a:cubicBezTo>
                    <a:pt x="266" y="156"/>
                    <a:pt x="266" y="156"/>
                    <a:pt x="266" y="156"/>
                  </a:cubicBezTo>
                  <a:lnTo>
                    <a:pt x="262" y="174"/>
                  </a:lnTo>
                  <a:close/>
                  <a:moveTo>
                    <a:pt x="272" y="134"/>
                  </a:moveTo>
                  <a:cubicBezTo>
                    <a:pt x="248" y="134"/>
                    <a:pt x="248" y="134"/>
                    <a:pt x="248" y="134"/>
                  </a:cubicBezTo>
                  <a:cubicBezTo>
                    <a:pt x="253" y="110"/>
                    <a:pt x="253" y="110"/>
                    <a:pt x="253" y="110"/>
                  </a:cubicBezTo>
                  <a:cubicBezTo>
                    <a:pt x="278" y="110"/>
                    <a:pt x="278" y="110"/>
                    <a:pt x="278" y="110"/>
                  </a:cubicBezTo>
                  <a:lnTo>
                    <a:pt x="272" y="134"/>
                  </a:lnTo>
                  <a:close/>
                  <a:moveTo>
                    <a:pt x="288" y="69"/>
                  </a:moveTo>
                  <a:cubicBezTo>
                    <a:pt x="283" y="87"/>
                    <a:pt x="283" y="87"/>
                    <a:pt x="283" y="87"/>
                  </a:cubicBezTo>
                  <a:cubicBezTo>
                    <a:pt x="258" y="87"/>
                    <a:pt x="258" y="87"/>
                    <a:pt x="258" y="87"/>
                  </a:cubicBezTo>
                  <a:cubicBezTo>
                    <a:pt x="263" y="61"/>
                    <a:pt x="263" y="61"/>
                    <a:pt x="263" y="61"/>
                  </a:cubicBezTo>
                  <a:cubicBezTo>
                    <a:pt x="282" y="61"/>
                    <a:pt x="282" y="61"/>
                    <a:pt x="282" y="61"/>
                  </a:cubicBezTo>
                  <a:cubicBezTo>
                    <a:pt x="284" y="61"/>
                    <a:pt x="286" y="63"/>
                    <a:pt x="287" y="64"/>
                  </a:cubicBezTo>
                  <a:cubicBezTo>
                    <a:pt x="287" y="65"/>
                    <a:pt x="288" y="67"/>
                    <a:pt x="288" y="69"/>
                  </a:cubicBezTo>
                  <a:close/>
                  <a:moveTo>
                    <a:pt x="288" y="69"/>
                  </a:moveTo>
                  <a:cubicBezTo>
                    <a:pt x="288" y="69"/>
                    <a:pt x="288" y="69"/>
                    <a:pt x="288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51" name="Group 550">
            <a:extLst>
              <a:ext uri="{FF2B5EF4-FFF2-40B4-BE49-F238E27FC236}">
                <a16:creationId xmlns:a16="http://schemas.microsoft.com/office/drawing/2014/main" id="{980956B8-ECAE-4099-8B5B-FDF787B66F86}"/>
              </a:ext>
            </a:extLst>
          </p:cNvPr>
          <p:cNvGrpSpPr/>
          <p:nvPr/>
        </p:nvGrpSpPr>
        <p:grpSpPr>
          <a:xfrm>
            <a:off x="1161349" y="4769451"/>
            <a:ext cx="647326" cy="646250"/>
            <a:chOff x="322007" y="4673599"/>
            <a:chExt cx="839346" cy="837953"/>
          </a:xfrm>
        </p:grpSpPr>
        <p:sp>
          <p:nvSpPr>
            <p:cNvPr id="325" name="Oval 36">
              <a:extLst>
                <a:ext uri="{FF2B5EF4-FFF2-40B4-BE49-F238E27FC236}">
                  <a16:creationId xmlns:a16="http://schemas.microsoft.com/office/drawing/2014/main" id="{AB598E57-E27F-4C77-B0BA-C0968ED0BA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2007" y="4673599"/>
              <a:ext cx="839346" cy="837953"/>
            </a:xfrm>
            <a:prstGeom prst="ellipse">
              <a:avLst/>
            </a:prstGeom>
            <a:solidFill>
              <a:srgbClr val="0072C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6" name="Freeform 37">
              <a:extLst>
                <a:ext uri="{FF2B5EF4-FFF2-40B4-BE49-F238E27FC236}">
                  <a16:creationId xmlns:a16="http://schemas.microsoft.com/office/drawing/2014/main" id="{49DCE641-FFC1-45F0-8E85-D5AA5FB69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529" y="5110671"/>
              <a:ext cx="103005" cy="218535"/>
            </a:xfrm>
            <a:custGeom>
              <a:avLst/>
              <a:gdLst>
                <a:gd name="T0" fmla="*/ 9 w 55"/>
                <a:gd name="T1" fmla="*/ 117 h 117"/>
                <a:gd name="T2" fmla="*/ 0 w 55"/>
                <a:gd name="T3" fmla="*/ 108 h 117"/>
                <a:gd name="T4" fmla="*/ 0 w 55"/>
                <a:gd name="T5" fmla="*/ 9 h 117"/>
                <a:gd name="T6" fmla="*/ 9 w 55"/>
                <a:gd name="T7" fmla="*/ 0 h 117"/>
                <a:gd name="T8" fmla="*/ 46 w 55"/>
                <a:gd name="T9" fmla="*/ 0 h 117"/>
                <a:gd name="T10" fmla="*/ 55 w 55"/>
                <a:gd name="T11" fmla="*/ 9 h 117"/>
                <a:gd name="T12" fmla="*/ 55 w 55"/>
                <a:gd name="T13" fmla="*/ 108 h 117"/>
                <a:gd name="T14" fmla="*/ 46 w 55"/>
                <a:gd name="T15" fmla="*/ 117 h 117"/>
                <a:gd name="T16" fmla="*/ 9 w 55"/>
                <a:gd name="T1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17">
                  <a:moveTo>
                    <a:pt x="9" y="117"/>
                  </a:moveTo>
                  <a:cubicBezTo>
                    <a:pt x="4" y="117"/>
                    <a:pt x="0" y="113"/>
                    <a:pt x="0" y="10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1" y="0"/>
                    <a:pt x="55" y="4"/>
                    <a:pt x="55" y="9"/>
                  </a:cubicBezTo>
                  <a:cubicBezTo>
                    <a:pt x="55" y="108"/>
                    <a:pt x="55" y="108"/>
                    <a:pt x="55" y="108"/>
                  </a:cubicBezTo>
                  <a:cubicBezTo>
                    <a:pt x="55" y="113"/>
                    <a:pt x="51" y="117"/>
                    <a:pt x="46" y="117"/>
                  </a:cubicBezTo>
                  <a:cubicBezTo>
                    <a:pt x="9" y="117"/>
                    <a:pt x="9" y="117"/>
                    <a:pt x="9" y="1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27" name="Freeform 38">
              <a:extLst>
                <a:ext uri="{FF2B5EF4-FFF2-40B4-BE49-F238E27FC236}">
                  <a16:creationId xmlns:a16="http://schemas.microsoft.com/office/drawing/2014/main" id="{701429F7-1CED-40F1-B204-B804B38F4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70" y="4851771"/>
              <a:ext cx="336853" cy="483007"/>
            </a:xfrm>
            <a:custGeom>
              <a:avLst/>
              <a:gdLst>
                <a:gd name="T0" fmla="*/ 172 w 180"/>
                <a:gd name="T1" fmla="*/ 175 h 259"/>
                <a:gd name="T2" fmla="*/ 171 w 180"/>
                <a:gd name="T3" fmla="*/ 185 h 259"/>
                <a:gd name="T4" fmla="*/ 174 w 180"/>
                <a:gd name="T5" fmla="*/ 195 h 259"/>
                <a:gd name="T6" fmla="*/ 162 w 180"/>
                <a:gd name="T7" fmla="*/ 216 h 259"/>
                <a:gd name="T8" fmla="*/ 160 w 180"/>
                <a:gd name="T9" fmla="*/ 225 h 259"/>
                <a:gd name="T10" fmla="*/ 158 w 180"/>
                <a:gd name="T11" fmla="*/ 241 h 259"/>
                <a:gd name="T12" fmla="*/ 131 w 180"/>
                <a:gd name="T13" fmla="*/ 256 h 259"/>
                <a:gd name="T14" fmla="*/ 87 w 180"/>
                <a:gd name="T15" fmla="*/ 258 h 259"/>
                <a:gd name="T16" fmla="*/ 86 w 180"/>
                <a:gd name="T17" fmla="*/ 258 h 259"/>
                <a:gd name="T18" fmla="*/ 7 w 180"/>
                <a:gd name="T19" fmla="*/ 253 h 259"/>
                <a:gd name="T20" fmla="*/ 7 w 180"/>
                <a:gd name="T21" fmla="*/ 253 h 259"/>
                <a:gd name="T22" fmla="*/ 1 w 180"/>
                <a:gd name="T23" fmla="*/ 253 h 259"/>
                <a:gd name="T24" fmla="*/ 1 w 180"/>
                <a:gd name="T25" fmla="*/ 247 h 259"/>
                <a:gd name="T26" fmla="*/ 1 w 180"/>
                <a:gd name="T27" fmla="*/ 148 h 259"/>
                <a:gd name="T28" fmla="*/ 8 w 180"/>
                <a:gd name="T29" fmla="*/ 114 h 259"/>
                <a:gd name="T30" fmla="*/ 63 w 180"/>
                <a:gd name="T31" fmla="*/ 22 h 259"/>
                <a:gd name="T32" fmla="*/ 64 w 180"/>
                <a:gd name="T33" fmla="*/ 18 h 259"/>
                <a:gd name="T34" fmla="*/ 65 w 180"/>
                <a:gd name="T35" fmla="*/ 5 h 259"/>
                <a:gd name="T36" fmla="*/ 74 w 180"/>
                <a:gd name="T37" fmla="*/ 1 h 259"/>
                <a:gd name="T38" fmla="*/ 85 w 180"/>
                <a:gd name="T39" fmla="*/ 8 h 259"/>
                <a:gd name="T40" fmla="*/ 84 w 180"/>
                <a:gd name="T41" fmla="*/ 53 h 259"/>
                <a:gd name="T42" fmla="*/ 81 w 180"/>
                <a:gd name="T43" fmla="*/ 107 h 259"/>
                <a:gd name="T44" fmla="*/ 94 w 180"/>
                <a:gd name="T45" fmla="*/ 110 h 259"/>
                <a:gd name="T46" fmla="*/ 105 w 180"/>
                <a:gd name="T47" fmla="*/ 107 h 259"/>
                <a:gd name="T48" fmla="*/ 106 w 180"/>
                <a:gd name="T49" fmla="*/ 107 h 259"/>
                <a:gd name="T50" fmla="*/ 169 w 180"/>
                <a:gd name="T51" fmla="*/ 111 h 259"/>
                <a:gd name="T52" fmla="*/ 172 w 180"/>
                <a:gd name="T53" fmla="*/ 133 h 259"/>
                <a:gd name="T54" fmla="*/ 173 w 180"/>
                <a:gd name="T55" fmla="*/ 144 h 259"/>
                <a:gd name="T56" fmla="*/ 180 w 180"/>
                <a:gd name="T57" fmla="*/ 158 h 259"/>
                <a:gd name="T58" fmla="*/ 172 w 180"/>
                <a:gd name="T59" fmla="*/ 175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0" h="259">
                  <a:moveTo>
                    <a:pt x="172" y="175"/>
                  </a:moveTo>
                  <a:cubicBezTo>
                    <a:pt x="170" y="177"/>
                    <a:pt x="169" y="181"/>
                    <a:pt x="171" y="185"/>
                  </a:cubicBezTo>
                  <a:cubicBezTo>
                    <a:pt x="171" y="185"/>
                    <a:pt x="174" y="189"/>
                    <a:pt x="174" y="195"/>
                  </a:cubicBezTo>
                  <a:cubicBezTo>
                    <a:pt x="174" y="203"/>
                    <a:pt x="170" y="210"/>
                    <a:pt x="162" y="216"/>
                  </a:cubicBezTo>
                  <a:cubicBezTo>
                    <a:pt x="160" y="218"/>
                    <a:pt x="158" y="222"/>
                    <a:pt x="160" y="225"/>
                  </a:cubicBezTo>
                  <a:cubicBezTo>
                    <a:pt x="160" y="225"/>
                    <a:pt x="162" y="233"/>
                    <a:pt x="158" y="241"/>
                  </a:cubicBezTo>
                  <a:cubicBezTo>
                    <a:pt x="154" y="248"/>
                    <a:pt x="145" y="253"/>
                    <a:pt x="131" y="256"/>
                  </a:cubicBezTo>
                  <a:cubicBezTo>
                    <a:pt x="120" y="259"/>
                    <a:pt x="105" y="259"/>
                    <a:pt x="87" y="258"/>
                  </a:cubicBezTo>
                  <a:cubicBezTo>
                    <a:pt x="86" y="258"/>
                    <a:pt x="86" y="258"/>
                    <a:pt x="86" y="258"/>
                  </a:cubicBezTo>
                  <a:cubicBezTo>
                    <a:pt x="47" y="258"/>
                    <a:pt x="7" y="253"/>
                    <a:pt x="7" y="253"/>
                  </a:cubicBezTo>
                  <a:cubicBezTo>
                    <a:pt x="7" y="253"/>
                    <a:pt x="7" y="253"/>
                    <a:pt x="7" y="253"/>
                  </a:cubicBezTo>
                  <a:cubicBezTo>
                    <a:pt x="1" y="253"/>
                    <a:pt x="1" y="253"/>
                    <a:pt x="1" y="253"/>
                  </a:cubicBezTo>
                  <a:cubicBezTo>
                    <a:pt x="1" y="251"/>
                    <a:pt x="1" y="249"/>
                    <a:pt x="1" y="247"/>
                  </a:cubicBezTo>
                  <a:cubicBezTo>
                    <a:pt x="1" y="148"/>
                    <a:pt x="1" y="148"/>
                    <a:pt x="1" y="148"/>
                  </a:cubicBezTo>
                  <a:cubicBezTo>
                    <a:pt x="1" y="146"/>
                    <a:pt x="0" y="125"/>
                    <a:pt x="8" y="114"/>
                  </a:cubicBezTo>
                  <a:cubicBezTo>
                    <a:pt x="33" y="79"/>
                    <a:pt x="62" y="25"/>
                    <a:pt x="63" y="22"/>
                  </a:cubicBezTo>
                  <a:cubicBezTo>
                    <a:pt x="64" y="21"/>
                    <a:pt x="64" y="19"/>
                    <a:pt x="64" y="18"/>
                  </a:cubicBezTo>
                  <a:cubicBezTo>
                    <a:pt x="63" y="14"/>
                    <a:pt x="64" y="9"/>
                    <a:pt x="65" y="5"/>
                  </a:cubicBezTo>
                  <a:cubicBezTo>
                    <a:pt x="67" y="2"/>
                    <a:pt x="70" y="0"/>
                    <a:pt x="74" y="1"/>
                  </a:cubicBezTo>
                  <a:cubicBezTo>
                    <a:pt x="77" y="2"/>
                    <a:pt x="82" y="4"/>
                    <a:pt x="85" y="8"/>
                  </a:cubicBezTo>
                  <a:cubicBezTo>
                    <a:pt x="91" y="17"/>
                    <a:pt x="91" y="32"/>
                    <a:pt x="84" y="53"/>
                  </a:cubicBezTo>
                  <a:cubicBezTo>
                    <a:pt x="74" y="84"/>
                    <a:pt x="73" y="100"/>
                    <a:pt x="81" y="107"/>
                  </a:cubicBezTo>
                  <a:cubicBezTo>
                    <a:pt x="85" y="111"/>
                    <a:pt x="90" y="111"/>
                    <a:pt x="94" y="110"/>
                  </a:cubicBezTo>
                  <a:cubicBezTo>
                    <a:pt x="98" y="109"/>
                    <a:pt x="102" y="108"/>
                    <a:pt x="105" y="107"/>
                  </a:cubicBezTo>
                  <a:cubicBezTo>
                    <a:pt x="105" y="107"/>
                    <a:pt x="105" y="107"/>
                    <a:pt x="106" y="107"/>
                  </a:cubicBezTo>
                  <a:cubicBezTo>
                    <a:pt x="124" y="103"/>
                    <a:pt x="158" y="101"/>
                    <a:pt x="169" y="111"/>
                  </a:cubicBezTo>
                  <a:cubicBezTo>
                    <a:pt x="179" y="120"/>
                    <a:pt x="172" y="132"/>
                    <a:pt x="172" y="133"/>
                  </a:cubicBezTo>
                  <a:cubicBezTo>
                    <a:pt x="169" y="137"/>
                    <a:pt x="170" y="141"/>
                    <a:pt x="173" y="144"/>
                  </a:cubicBezTo>
                  <a:cubicBezTo>
                    <a:pt x="173" y="144"/>
                    <a:pt x="179" y="150"/>
                    <a:pt x="180" y="158"/>
                  </a:cubicBezTo>
                  <a:cubicBezTo>
                    <a:pt x="180" y="164"/>
                    <a:pt x="177" y="169"/>
                    <a:pt x="172" y="1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92" name="Rectangle 391">
            <a:extLst>
              <a:ext uri="{FF2B5EF4-FFF2-40B4-BE49-F238E27FC236}">
                <a16:creationId xmlns:a16="http://schemas.microsoft.com/office/drawing/2014/main" id="{975CCD21-95EC-414D-BC0A-7E6508B83DD8}"/>
              </a:ext>
            </a:extLst>
          </p:cNvPr>
          <p:cNvSpPr/>
          <p:nvPr/>
        </p:nvSpPr>
        <p:spPr>
          <a:xfrm>
            <a:off x="7846281" y="3593740"/>
            <a:ext cx="1994736" cy="1382978"/>
          </a:xfrm>
          <a:prstGeom prst="rect">
            <a:avLst/>
          </a:prstGeom>
          <a:solidFill>
            <a:srgbClr val="09B2F0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rgbClr val="09B2F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1" name="Freeform: Shape 390">
            <a:extLst>
              <a:ext uri="{FF2B5EF4-FFF2-40B4-BE49-F238E27FC236}">
                <a16:creationId xmlns:a16="http://schemas.microsoft.com/office/drawing/2014/main" id="{543CF6EF-7344-4B9F-B6A4-0126DFA6701F}"/>
              </a:ext>
            </a:extLst>
          </p:cNvPr>
          <p:cNvSpPr/>
          <p:nvPr/>
        </p:nvSpPr>
        <p:spPr>
          <a:xfrm>
            <a:off x="9250628" y="4296074"/>
            <a:ext cx="590390" cy="680645"/>
          </a:xfrm>
          <a:custGeom>
            <a:avLst/>
            <a:gdLst>
              <a:gd name="connsiteX0" fmla="*/ 998716 w 1727651"/>
              <a:gd name="connsiteY0" fmla="*/ 0 h 1997431"/>
              <a:gd name="connsiteX1" fmla="*/ 1704915 w 1727651"/>
              <a:gd name="connsiteY1" fmla="*/ 292517 h 1997431"/>
              <a:gd name="connsiteX2" fmla="*/ 1727651 w 1727651"/>
              <a:gd name="connsiteY2" fmla="*/ 320073 h 1997431"/>
              <a:gd name="connsiteX3" fmla="*/ 1727651 w 1727651"/>
              <a:gd name="connsiteY3" fmla="*/ 1677359 h 1997431"/>
              <a:gd name="connsiteX4" fmla="*/ 1704915 w 1727651"/>
              <a:gd name="connsiteY4" fmla="*/ 1704915 h 1997431"/>
              <a:gd name="connsiteX5" fmla="*/ 1100829 w 1727651"/>
              <a:gd name="connsiteY5" fmla="*/ 1992276 h 1997431"/>
              <a:gd name="connsiteX6" fmla="*/ 998736 w 1727651"/>
              <a:gd name="connsiteY6" fmla="*/ 1997431 h 1997431"/>
              <a:gd name="connsiteX7" fmla="*/ 998697 w 1727651"/>
              <a:gd name="connsiteY7" fmla="*/ 1997431 h 1997431"/>
              <a:gd name="connsiteX8" fmla="*/ 896603 w 1727651"/>
              <a:gd name="connsiteY8" fmla="*/ 1992276 h 1997431"/>
              <a:gd name="connsiteX9" fmla="*/ 0 w 1727651"/>
              <a:gd name="connsiteY9" fmla="*/ 998716 h 1997431"/>
              <a:gd name="connsiteX10" fmla="*/ 998716 w 1727651"/>
              <a:gd name="connsiteY10" fmla="*/ 0 h 1997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27651" h="1997431">
                <a:moveTo>
                  <a:pt x="998716" y="0"/>
                </a:moveTo>
                <a:cubicBezTo>
                  <a:pt x="1274504" y="0"/>
                  <a:pt x="1524183" y="111785"/>
                  <a:pt x="1704915" y="292517"/>
                </a:cubicBezTo>
                <a:lnTo>
                  <a:pt x="1727651" y="320073"/>
                </a:lnTo>
                <a:lnTo>
                  <a:pt x="1727651" y="1677359"/>
                </a:lnTo>
                <a:lnTo>
                  <a:pt x="1704915" y="1704915"/>
                </a:lnTo>
                <a:cubicBezTo>
                  <a:pt x="1546775" y="1863055"/>
                  <a:pt x="1335847" y="1968408"/>
                  <a:pt x="1100829" y="1992276"/>
                </a:cubicBezTo>
                <a:lnTo>
                  <a:pt x="998736" y="1997431"/>
                </a:lnTo>
                <a:lnTo>
                  <a:pt x="998697" y="1997431"/>
                </a:lnTo>
                <a:lnTo>
                  <a:pt x="896603" y="1992276"/>
                </a:lnTo>
                <a:cubicBezTo>
                  <a:pt x="392994" y="1941132"/>
                  <a:pt x="0" y="1515819"/>
                  <a:pt x="0" y="998716"/>
                </a:cubicBezTo>
                <a:cubicBezTo>
                  <a:pt x="0" y="447140"/>
                  <a:pt x="447140" y="0"/>
                  <a:pt x="998716" y="0"/>
                </a:cubicBezTo>
                <a:close/>
              </a:path>
            </a:pathLst>
          </a:custGeom>
          <a:solidFill>
            <a:srgbClr val="07B2F0">
              <a:alpha val="6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6" name="TextBox 385">
            <a:extLst>
              <a:ext uri="{FF2B5EF4-FFF2-40B4-BE49-F238E27FC236}">
                <a16:creationId xmlns:a16="http://schemas.microsoft.com/office/drawing/2014/main" id="{CA31369B-2598-40F0-90DA-E295C7DD4972}"/>
              </a:ext>
            </a:extLst>
          </p:cNvPr>
          <p:cNvSpPr txBox="1"/>
          <p:nvPr/>
        </p:nvSpPr>
        <p:spPr>
          <a:xfrm>
            <a:off x="7784971" y="3674659"/>
            <a:ext cx="978248" cy="368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0%</a:t>
            </a: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12149BA3-FCDA-49F6-B4AB-4150549C14D2}"/>
              </a:ext>
            </a:extLst>
          </p:cNvPr>
          <p:cNvSpPr txBox="1"/>
          <p:nvPr/>
        </p:nvSpPr>
        <p:spPr>
          <a:xfrm>
            <a:off x="7901171" y="4012036"/>
            <a:ext cx="1303220" cy="782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ANDONED</a:t>
            </a:r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cart due to </a:t>
            </a:r>
            <a:r>
              <a: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NGTHY DELIVERY TIME</a:t>
            </a:r>
          </a:p>
          <a:p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no delivery date provided</a:t>
            </a:r>
          </a:p>
        </p:txBody>
      </p:sp>
      <p:sp>
        <p:nvSpPr>
          <p:cNvPr id="388" name="Freeform 35">
            <a:extLst>
              <a:ext uri="{FF2B5EF4-FFF2-40B4-BE49-F238E27FC236}">
                <a16:creationId xmlns:a16="http://schemas.microsoft.com/office/drawing/2014/main" id="{3C0CEE03-1ECB-48E7-8BB8-74D311F9C544}"/>
              </a:ext>
            </a:extLst>
          </p:cNvPr>
          <p:cNvSpPr>
            <a:spLocks noEditPoints="1"/>
          </p:cNvSpPr>
          <p:nvPr/>
        </p:nvSpPr>
        <p:spPr bwMode="auto">
          <a:xfrm rot="1751550">
            <a:off x="9246898" y="4382556"/>
            <a:ext cx="438014" cy="408626"/>
          </a:xfrm>
          <a:custGeom>
            <a:avLst/>
            <a:gdLst>
              <a:gd name="T0" fmla="*/ 281 w 312"/>
              <a:gd name="T1" fmla="*/ 39 h 292"/>
              <a:gd name="T2" fmla="*/ 75 w 312"/>
              <a:gd name="T3" fmla="*/ 43 h 292"/>
              <a:gd name="T4" fmla="*/ 53 w 312"/>
              <a:gd name="T5" fmla="*/ 0 h 292"/>
              <a:gd name="T6" fmla="*/ 0 w 312"/>
              <a:gd name="T7" fmla="*/ 10 h 292"/>
              <a:gd name="T8" fmla="*/ 10 w 312"/>
              <a:gd name="T9" fmla="*/ 21 h 292"/>
              <a:gd name="T10" fmla="*/ 66 w 312"/>
              <a:gd name="T11" fmla="*/ 87 h 292"/>
              <a:gd name="T12" fmla="*/ 66 w 312"/>
              <a:gd name="T13" fmla="*/ 213 h 292"/>
              <a:gd name="T14" fmla="*/ 96 w 312"/>
              <a:gd name="T15" fmla="*/ 260 h 292"/>
              <a:gd name="T16" fmla="*/ 163 w 312"/>
              <a:gd name="T17" fmla="*/ 258 h 292"/>
              <a:gd name="T18" fmla="*/ 200 w 312"/>
              <a:gd name="T19" fmla="*/ 247 h 292"/>
              <a:gd name="T20" fmla="*/ 229 w 312"/>
              <a:gd name="T21" fmla="*/ 291 h 292"/>
              <a:gd name="T22" fmla="*/ 231 w 312"/>
              <a:gd name="T23" fmla="*/ 224 h 292"/>
              <a:gd name="T24" fmla="*/ 89 w 312"/>
              <a:gd name="T25" fmla="*/ 213 h 292"/>
              <a:gd name="T26" fmla="*/ 256 w 312"/>
              <a:gd name="T27" fmla="*/ 201 h 292"/>
              <a:gd name="T28" fmla="*/ 309 w 312"/>
              <a:gd name="T29" fmla="*/ 75 h 292"/>
              <a:gd name="T30" fmla="*/ 231 w 312"/>
              <a:gd name="T31" fmla="*/ 247 h 292"/>
              <a:gd name="T32" fmla="*/ 231 w 312"/>
              <a:gd name="T33" fmla="*/ 269 h 292"/>
              <a:gd name="T34" fmla="*/ 231 w 312"/>
              <a:gd name="T35" fmla="*/ 247 h 292"/>
              <a:gd name="T36" fmla="*/ 141 w 312"/>
              <a:gd name="T37" fmla="*/ 258 h 292"/>
              <a:gd name="T38" fmla="*/ 119 w 312"/>
              <a:gd name="T39" fmla="*/ 258 h 292"/>
              <a:gd name="T40" fmla="*/ 89 w 312"/>
              <a:gd name="T41" fmla="*/ 87 h 292"/>
              <a:gd name="T42" fmla="*/ 85 w 312"/>
              <a:gd name="T43" fmla="*/ 64 h 292"/>
              <a:gd name="T44" fmla="*/ 111 w 312"/>
              <a:gd name="T45" fmla="*/ 61 h 292"/>
              <a:gd name="T46" fmla="*/ 89 w 312"/>
              <a:gd name="T47" fmla="*/ 87 h 292"/>
              <a:gd name="T48" fmla="*/ 122 w 312"/>
              <a:gd name="T49" fmla="*/ 110 h 292"/>
              <a:gd name="T50" fmla="*/ 102 w 312"/>
              <a:gd name="T51" fmla="*/ 134 h 292"/>
              <a:gd name="T52" fmla="*/ 120 w 312"/>
              <a:gd name="T53" fmla="*/ 179 h 292"/>
              <a:gd name="T54" fmla="*/ 109 w 312"/>
              <a:gd name="T55" fmla="*/ 156 h 292"/>
              <a:gd name="T56" fmla="*/ 137 w 312"/>
              <a:gd name="T57" fmla="*/ 178 h 292"/>
              <a:gd name="T58" fmla="*/ 120 w 312"/>
              <a:gd name="T59" fmla="*/ 179 h 292"/>
              <a:gd name="T60" fmla="*/ 160 w 312"/>
              <a:gd name="T61" fmla="*/ 179 h 292"/>
              <a:gd name="T62" fmla="*/ 176 w 312"/>
              <a:gd name="T63" fmla="*/ 156 h 292"/>
              <a:gd name="T64" fmla="*/ 176 w 312"/>
              <a:gd name="T65" fmla="*/ 134 h 292"/>
              <a:gd name="T66" fmla="*/ 145 w 312"/>
              <a:gd name="T67" fmla="*/ 110 h 292"/>
              <a:gd name="T68" fmla="*/ 176 w 312"/>
              <a:gd name="T69" fmla="*/ 134 h 292"/>
              <a:gd name="T70" fmla="*/ 140 w 312"/>
              <a:gd name="T71" fmla="*/ 87 h 292"/>
              <a:gd name="T72" fmla="*/ 176 w 312"/>
              <a:gd name="T73" fmla="*/ 61 h 292"/>
              <a:gd name="T74" fmla="*/ 216 w 312"/>
              <a:gd name="T75" fmla="*/ 179 h 292"/>
              <a:gd name="T76" fmla="*/ 198 w 312"/>
              <a:gd name="T77" fmla="*/ 156 h 292"/>
              <a:gd name="T78" fmla="*/ 216 w 312"/>
              <a:gd name="T79" fmla="*/ 179 h 292"/>
              <a:gd name="T80" fmla="*/ 198 w 312"/>
              <a:gd name="T81" fmla="*/ 134 h 292"/>
              <a:gd name="T82" fmla="*/ 230 w 312"/>
              <a:gd name="T83" fmla="*/ 110 h 292"/>
              <a:gd name="T84" fmla="*/ 198 w 312"/>
              <a:gd name="T85" fmla="*/ 87 h 292"/>
              <a:gd name="T86" fmla="*/ 240 w 312"/>
              <a:gd name="T87" fmla="*/ 61 h 292"/>
              <a:gd name="T88" fmla="*/ 198 w 312"/>
              <a:gd name="T89" fmla="*/ 87 h 292"/>
              <a:gd name="T90" fmla="*/ 256 w 312"/>
              <a:gd name="T91" fmla="*/ 179 h 292"/>
              <a:gd name="T92" fmla="*/ 243 w 312"/>
              <a:gd name="T93" fmla="*/ 156 h 292"/>
              <a:gd name="T94" fmla="*/ 262 w 312"/>
              <a:gd name="T95" fmla="*/ 174 h 292"/>
              <a:gd name="T96" fmla="*/ 248 w 312"/>
              <a:gd name="T97" fmla="*/ 134 h 292"/>
              <a:gd name="T98" fmla="*/ 278 w 312"/>
              <a:gd name="T99" fmla="*/ 110 h 292"/>
              <a:gd name="T100" fmla="*/ 288 w 312"/>
              <a:gd name="T101" fmla="*/ 69 h 292"/>
              <a:gd name="T102" fmla="*/ 258 w 312"/>
              <a:gd name="T103" fmla="*/ 87 h 292"/>
              <a:gd name="T104" fmla="*/ 282 w 312"/>
              <a:gd name="T105" fmla="*/ 61 h 292"/>
              <a:gd name="T106" fmla="*/ 288 w 312"/>
              <a:gd name="T107" fmla="*/ 69 h 292"/>
              <a:gd name="T108" fmla="*/ 288 w 312"/>
              <a:gd name="T109" fmla="*/ 69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12" h="292">
                <a:moveTo>
                  <a:pt x="304" y="50"/>
                </a:moveTo>
                <a:cubicBezTo>
                  <a:pt x="298" y="43"/>
                  <a:pt x="290" y="39"/>
                  <a:pt x="281" y="39"/>
                </a:cubicBezTo>
                <a:cubicBezTo>
                  <a:pt x="91" y="39"/>
                  <a:pt x="91" y="39"/>
                  <a:pt x="91" y="39"/>
                </a:cubicBezTo>
                <a:cubicBezTo>
                  <a:pt x="85" y="39"/>
                  <a:pt x="80" y="41"/>
                  <a:pt x="75" y="43"/>
                </a:cubicBezTo>
                <a:cubicBezTo>
                  <a:pt x="66" y="9"/>
                  <a:pt x="66" y="9"/>
                  <a:pt x="66" y="9"/>
                </a:cubicBezTo>
                <a:cubicBezTo>
                  <a:pt x="64" y="4"/>
                  <a:pt x="59" y="0"/>
                  <a:pt x="53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6"/>
                  <a:pt x="5" y="21"/>
                  <a:pt x="10" y="21"/>
                </a:cubicBezTo>
                <a:cubicBezTo>
                  <a:pt x="47" y="21"/>
                  <a:pt x="47" y="21"/>
                  <a:pt x="47" y="21"/>
                </a:cubicBezTo>
                <a:cubicBezTo>
                  <a:pt x="66" y="87"/>
                  <a:pt x="66" y="87"/>
                  <a:pt x="66" y="87"/>
                </a:cubicBezTo>
                <a:cubicBezTo>
                  <a:pt x="92" y="180"/>
                  <a:pt x="92" y="180"/>
                  <a:pt x="92" y="180"/>
                </a:cubicBezTo>
                <a:cubicBezTo>
                  <a:pt x="77" y="183"/>
                  <a:pt x="66" y="197"/>
                  <a:pt x="66" y="213"/>
                </a:cubicBezTo>
                <a:cubicBezTo>
                  <a:pt x="66" y="231"/>
                  <a:pt x="80" y="245"/>
                  <a:pt x="98" y="247"/>
                </a:cubicBezTo>
                <a:cubicBezTo>
                  <a:pt x="97" y="251"/>
                  <a:pt x="96" y="256"/>
                  <a:pt x="96" y="260"/>
                </a:cubicBezTo>
                <a:cubicBezTo>
                  <a:pt x="98" y="277"/>
                  <a:pt x="111" y="290"/>
                  <a:pt x="127" y="291"/>
                </a:cubicBezTo>
                <a:cubicBezTo>
                  <a:pt x="147" y="292"/>
                  <a:pt x="163" y="277"/>
                  <a:pt x="163" y="258"/>
                </a:cubicBezTo>
                <a:cubicBezTo>
                  <a:pt x="163" y="254"/>
                  <a:pt x="162" y="250"/>
                  <a:pt x="161" y="247"/>
                </a:cubicBezTo>
                <a:cubicBezTo>
                  <a:pt x="200" y="247"/>
                  <a:pt x="200" y="247"/>
                  <a:pt x="200" y="247"/>
                </a:cubicBezTo>
                <a:cubicBezTo>
                  <a:pt x="198" y="251"/>
                  <a:pt x="198" y="256"/>
                  <a:pt x="198" y="261"/>
                </a:cubicBezTo>
                <a:cubicBezTo>
                  <a:pt x="200" y="277"/>
                  <a:pt x="213" y="290"/>
                  <a:pt x="229" y="291"/>
                </a:cubicBezTo>
                <a:cubicBezTo>
                  <a:pt x="248" y="292"/>
                  <a:pt x="265" y="277"/>
                  <a:pt x="265" y="258"/>
                </a:cubicBezTo>
                <a:cubicBezTo>
                  <a:pt x="265" y="239"/>
                  <a:pt x="249" y="224"/>
                  <a:pt x="231" y="224"/>
                </a:cubicBezTo>
                <a:cubicBezTo>
                  <a:pt x="101" y="224"/>
                  <a:pt x="101" y="224"/>
                  <a:pt x="101" y="224"/>
                </a:cubicBezTo>
                <a:cubicBezTo>
                  <a:pt x="94" y="224"/>
                  <a:pt x="89" y="219"/>
                  <a:pt x="89" y="213"/>
                </a:cubicBezTo>
                <a:cubicBezTo>
                  <a:pt x="88" y="206"/>
                  <a:pt x="94" y="201"/>
                  <a:pt x="100" y="201"/>
                </a:cubicBezTo>
                <a:cubicBezTo>
                  <a:pt x="256" y="201"/>
                  <a:pt x="256" y="201"/>
                  <a:pt x="256" y="201"/>
                </a:cubicBezTo>
                <a:cubicBezTo>
                  <a:pt x="269" y="201"/>
                  <a:pt x="280" y="192"/>
                  <a:pt x="284" y="179"/>
                </a:cubicBezTo>
                <a:cubicBezTo>
                  <a:pt x="309" y="75"/>
                  <a:pt x="309" y="75"/>
                  <a:pt x="309" y="75"/>
                </a:cubicBezTo>
                <a:cubicBezTo>
                  <a:pt x="312" y="66"/>
                  <a:pt x="310" y="57"/>
                  <a:pt x="304" y="50"/>
                </a:cubicBezTo>
                <a:close/>
                <a:moveTo>
                  <a:pt x="231" y="247"/>
                </a:moveTo>
                <a:cubicBezTo>
                  <a:pt x="237" y="247"/>
                  <a:pt x="242" y="252"/>
                  <a:pt x="242" y="258"/>
                </a:cubicBezTo>
                <a:cubicBezTo>
                  <a:pt x="242" y="264"/>
                  <a:pt x="237" y="269"/>
                  <a:pt x="231" y="269"/>
                </a:cubicBezTo>
                <a:cubicBezTo>
                  <a:pt x="225" y="269"/>
                  <a:pt x="220" y="264"/>
                  <a:pt x="220" y="258"/>
                </a:cubicBezTo>
                <a:cubicBezTo>
                  <a:pt x="220" y="252"/>
                  <a:pt x="225" y="247"/>
                  <a:pt x="231" y="247"/>
                </a:cubicBezTo>
                <a:close/>
                <a:moveTo>
                  <a:pt x="130" y="247"/>
                </a:moveTo>
                <a:cubicBezTo>
                  <a:pt x="136" y="247"/>
                  <a:pt x="141" y="252"/>
                  <a:pt x="141" y="258"/>
                </a:cubicBezTo>
                <a:cubicBezTo>
                  <a:pt x="141" y="264"/>
                  <a:pt x="136" y="269"/>
                  <a:pt x="130" y="269"/>
                </a:cubicBezTo>
                <a:cubicBezTo>
                  <a:pt x="124" y="269"/>
                  <a:pt x="119" y="264"/>
                  <a:pt x="119" y="258"/>
                </a:cubicBezTo>
                <a:cubicBezTo>
                  <a:pt x="119" y="252"/>
                  <a:pt x="123" y="247"/>
                  <a:pt x="130" y="247"/>
                </a:cubicBezTo>
                <a:close/>
                <a:moveTo>
                  <a:pt x="89" y="87"/>
                </a:moveTo>
                <a:cubicBezTo>
                  <a:pt x="84" y="70"/>
                  <a:pt x="84" y="70"/>
                  <a:pt x="84" y="70"/>
                </a:cubicBezTo>
                <a:cubicBezTo>
                  <a:pt x="84" y="67"/>
                  <a:pt x="85" y="65"/>
                  <a:pt x="85" y="64"/>
                </a:cubicBezTo>
                <a:cubicBezTo>
                  <a:pt x="86" y="63"/>
                  <a:pt x="88" y="61"/>
                  <a:pt x="91" y="61"/>
                </a:cubicBezTo>
                <a:cubicBezTo>
                  <a:pt x="111" y="61"/>
                  <a:pt x="111" y="61"/>
                  <a:pt x="111" y="61"/>
                </a:cubicBezTo>
                <a:cubicBezTo>
                  <a:pt x="117" y="87"/>
                  <a:pt x="117" y="87"/>
                  <a:pt x="117" y="87"/>
                </a:cubicBezTo>
                <a:cubicBezTo>
                  <a:pt x="89" y="87"/>
                  <a:pt x="89" y="87"/>
                  <a:pt x="89" y="87"/>
                </a:cubicBezTo>
                <a:close/>
                <a:moveTo>
                  <a:pt x="96" y="110"/>
                </a:moveTo>
                <a:cubicBezTo>
                  <a:pt x="122" y="110"/>
                  <a:pt x="122" y="110"/>
                  <a:pt x="122" y="110"/>
                </a:cubicBezTo>
                <a:cubicBezTo>
                  <a:pt x="127" y="134"/>
                  <a:pt x="127" y="134"/>
                  <a:pt x="127" y="134"/>
                </a:cubicBezTo>
                <a:cubicBezTo>
                  <a:pt x="102" y="134"/>
                  <a:pt x="102" y="134"/>
                  <a:pt x="102" y="134"/>
                </a:cubicBezTo>
                <a:lnTo>
                  <a:pt x="96" y="110"/>
                </a:lnTo>
                <a:close/>
                <a:moveTo>
                  <a:pt x="120" y="179"/>
                </a:moveTo>
                <a:cubicBezTo>
                  <a:pt x="117" y="179"/>
                  <a:pt x="114" y="177"/>
                  <a:pt x="114" y="174"/>
                </a:cubicBezTo>
                <a:cubicBezTo>
                  <a:pt x="109" y="156"/>
                  <a:pt x="109" y="156"/>
                  <a:pt x="109" y="156"/>
                </a:cubicBezTo>
                <a:cubicBezTo>
                  <a:pt x="132" y="156"/>
                  <a:pt x="132" y="156"/>
                  <a:pt x="132" y="156"/>
                </a:cubicBezTo>
                <a:cubicBezTo>
                  <a:pt x="137" y="178"/>
                  <a:pt x="137" y="178"/>
                  <a:pt x="137" y="178"/>
                </a:cubicBezTo>
                <a:cubicBezTo>
                  <a:pt x="120" y="178"/>
                  <a:pt x="120" y="178"/>
                  <a:pt x="120" y="178"/>
                </a:cubicBezTo>
                <a:lnTo>
                  <a:pt x="120" y="179"/>
                </a:lnTo>
                <a:close/>
                <a:moveTo>
                  <a:pt x="176" y="179"/>
                </a:moveTo>
                <a:cubicBezTo>
                  <a:pt x="160" y="179"/>
                  <a:pt x="160" y="179"/>
                  <a:pt x="160" y="179"/>
                </a:cubicBezTo>
                <a:cubicBezTo>
                  <a:pt x="155" y="156"/>
                  <a:pt x="155" y="156"/>
                  <a:pt x="155" y="156"/>
                </a:cubicBezTo>
                <a:cubicBezTo>
                  <a:pt x="176" y="156"/>
                  <a:pt x="176" y="156"/>
                  <a:pt x="176" y="156"/>
                </a:cubicBezTo>
                <a:cubicBezTo>
                  <a:pt x="176" y="179"/>
                  <a:pt x="176" y="179"/>
                  <a:pt x="176" y="179"/>
                </a:cubicBezTo>
                <a:close/>
                <a:moveTo>
                  <a:pt x="176" y="134"/>
                </a:moveTo>
                <a:cubicBezTo>
                  <a:pt x="150" y="134"/>
                  <a:pt x="150" y="134"/>
                  <a:pt x="150" y="134"/>
                </a:cubicBezTo>
                <a:cubicBezTo>
                  <a:pt x="145" y="110"/>
                  <a:pt x="145" y="110"/>
                  <a:pt x="145" y="110"/>
                </a:cubicBezTo>
                <a:cubicBezTo>
                  <a:pt x="176" y="110"/>
                  <a:pt x="176" y="110"/>
                  <a:pt x="176" y="110"/>
                </a:cubicBezTo>
                <a:lnTo>
                  <a:pt x="176" y="134"/>
                </a:lnTo>
                <a:close/>
                <a:moveTo>
                  <a:pt x="176" y="87"/>
                </a:moveTo>
                <a:cubicBezTo>
                  <a:pt x="140" y="87"/>
                  <a:pt x="140" y="87"/>
                  <a:pt x="140" y="87"/>
                </a:cubicBezTo>
                <a:cubicBezTo>
                  <a:pt x="134" y="61"/>
                  <a:pt x="134" y="61"/>
                  <a:pt x="134" y="61"/>
                </a:cubicBezTo>
                <a:cubicBezTo>
                  <a:pt x="176" y="61"/>
                  <a:pt x="176" y="61"/>
                  <a:pt x="176" y="61"/>
                </a:cubicBezTo>
                <a:lnTo>
                  <a:pt x="176" y="87"/>
                </a:lnTo>
                <a:close/>
                <a:moveTo>
                  <a:pt x="216" y="179"/>
                </a:moveTo>
                <a:cubicBezTo>
                  <a:pt x="198" y="179"/>
                  <a:pt x="198" y="179"/>
                  <a:pt x="198" y="179"/>
                </a:cubicBezTo>
                <a:cubicBezTo>
                  <a:pt x="198" y="156"/>
                  <a:pt x="198" y="156"/>
                  <a:pt x="198" y="156"/>
                </a:cubicBezTo>
                <a:cubicBezTo>
                  <a:pt x="220" y="156"/>
                  <a:pt x="220" y="156"/>
                  <a:pt x="220" y="156"/>
                </a:cubicBezTo>
                <a:lnTo>
                  <a:pt x="216" y="179"/>
                </a:lnTo>
                <a:close/>
                <a:moveTo>
                  <a:pt x="225" y="134"/>
                </a:moveTo>
                <a:cubicBezTo>
                  <a:pt x="198" y="134"/>
                  <a:pt x="198" y="134"/>
                  <a:pt x="198" y="134"/>
                </a:cubicBezTo>
                <a:cubicBezTo>
                  <a:pt x="198" y="110"/>
                  <a:pt x="198" y="110"/>
                  <a:pt x="198" y="110"/>
                </a:cubicBezTo>
                <a:cubicBezTo>
                  <a:pt x="230" y="110"/>
                  <a:pt x="230" y="110"/>
                  <a:pt x="230" y="110"/>
                </a:cubicBezTo>
                <a:lnTo>
                  <a:pt x="225" y="134"/>
                </a:lnTo>
                <a:close/>
                <a:moveTo>
                  <a:pt x="198" y="87"/>
                </a:moveTo>
                <a:cubicBezTo>
                  <a:pt x="198" y="61"/>
                  <a:pt x="198" y="61"/>
                  <a:pt x="198" y="61"/>
                </a:cubicBezTo>
                <a:cubicBezTo>
                  <a:pt x="240" y="61"/>
                  <a:pt x="240" y="61"/>
                  <a:pt x="240" y="61"/>
                </a:cubicBezTo>
                <a:cubicBezTo>
                  <a:pt x="235" y="87"/>
                  <a:pt x="235" y="87"/>
                  <a:pt x="235" y="87"/>
                </a:cubicBezTo>
                <a:lnTo>
                  <a:pt x="198" y="87"/>
                </a:lnTo>
                <a:close/>
                <a:moveTo>
                  <a:pt x="262" y="174"/>
                </a:moveTo>
                <a:cubicBezTo>
                  <a:pt x="261" y="177"/>
                  <a:pt x="259" y="179"/>
                  <a:pt x="256" y="179"/>
                </a:cubicBezTo>
                <a:cubicBezTo>
                  <a:pt x="239" y="179"/>
                  <a:pt x="239" y="179"/>
                  <a:pt x="239" y="179"/>
                </a:cubicBezTo>
                <a:cubicBezTo>
                  <a:pt x="243" y="156"/>
                  <a:pt x="243" y="156"/>
                  <a:pt x="243" y="156"/>
                </a:cubicBezTo>
                <a:cubicBezTo>
                  <a:pt x="266" y="156"/>
                  <a:pt x="266" y="156"/>
                  <a:pt x="266" y="156"/>
                </a:cubicBezTo>
                <a:lnTo>
                  <a:pt x="262" y="174"/>
                </a:lnTo>
                <a:close/>
                <a:moveTo>
                  <a:pt x="272" y="134"/>
                </a:moveTo>
                <a:cubicBezTo>
                  <a:pt x="248" y="134"/>
                  <a:pt x="248" y="134"/>
                  <a:pt x="248" y="134"/>
                </a:cubicBezTo>
                <a:cubicBezTo>
                  <a:pt x="253" y="110"/>
                  <a:pt x="253" y="110"/>
                  <a:pt x="253" y="110"/>
                </a:cubicBezTo>
                <a:cubicBezTo>
                  <a:pt x="278" y="110"/>
                  <a:pt x="278" y="110"/>
                  <a:pt x="278" y="110"/>
                </a:cubicBezTo>
                <a:lnTo>
                  <a:pt x="272" y="134"/>
                </a:lnTo>
                <a:close/>
                <a:moveTo>
                  <a:pt x="288" y="69"/>
                </a:moveTo>
                <a:cubicBezTo>
                  <a:pt x="283" y="87"/>
                  <a:pt x="283" y="87"/>
                  <a:pt x="283" y="87"/>
                </a:cubicBezTo>
                <a:cubicBezTo>
                  <a:pt x="258" y="87"/>
                  <a:pt x="258" y="87"/>
                  <a:pt x="258" y="87"/>
                </a:cubicBezTo>
                <a:cubicBezTo>
                  <a:pt x="263" y="61"/>
                  <a:pt x="263" y="61"/>
                  <a:pt x="263" y="61"/>
                </a:cubicBezTo>
                <a:cubicBezTo>
                  <a:pt x="282" y="61"/>
                  <a:pt x="282" y="61"/>
                  <a:pt x="282" y="61"/>
                </a:cubicBezTo>
                <a:cubicBezTo>
                  <a:pt x="284" y="61"/>
                  <a:pt x="286" y="63"/>
                  <a:pt x="287" y="64"/>
                </a:cubicBezTo>
                <a:cubicBezTo>
                  <a:pt x="287" y="65"/>
                  <a:pt x="288" y="67"/>
                  <a:pt x="288" y="69"/>
                </a:cubicBezTo>
                <a:close/>
                <a:moveTo>
                  <a:pt x="288" y="69"/>
                </a:moveTo>
                <a:cubicBezTo>
                  <a:pt x="288" y="69"/>
                  <a:pt x="288" y="69"/>
                  <a:pt x="288" y="6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4" name="Freeform: Shape 393">
            <a:extLst>
              <a:ext uri="{FF2B5EF4-FFF2-40B4-BE49-F238E27FC236}">
                <a16:creationId xmlns:a16="http://schemas.microsoft.com/office/drawing/2014/main" id="{9FC68D38-DF69-43F2-9BBA-9624F2C96EB2}"/>
              </a:ext>
            </a:extLst>
          </p:cNvPr>
          <p:cNvSpPr/>
          <p:nvPr/>
        </p:nvSpPr>
        <p:spPr>
          <a:xfrm rot="1857700">
            <a:off x="8895718" y="4077420"/>
            <a:ext cx="617837" cy="144441"/>
          </a:xfrm>
          <a:custGeom>
            <a:avLst/>
            <a:gdLst>
              <a:gd name="connsiteX0" fmla="*/ 0 w 1543050"/>
              <a:gd name="connsiteY0" fmla="*/ 0 h 381000"/>
              <a:gd name="connsiteX1" fmla="*/ 1543050 w 1543050"/>
              <a:gd name="connsiteY1" fmla="*/ 381000 h 381000"/>
              <a:gd name="connsiteX0" fmla="*/ 0 w 1543050"/>
              <a:gd name="connsiteY0" fmla="*/ 0 h 381000"/>
              <a:gd name="connsiteX1" fmla="*/ 1543050 w 1543050"/>
              <a:gd name="connsiteY1" fmla="*/ 381000 h 381000"/>
              <a:gd name="connsiteX0" fmla="*/ 0 w 1543050"/>
              <a:gd name="connsiteY0" fmla="*/ 0 h 381000"/>
              <a:gd name="connsiteX1" fmla="*/ 1543050 w 1543050"/>
              <a:gd name="connsiteY1" fmla="*/ 381000 h 381000"/>
              <a:gd name="connsiteX0" fmla="*/ 0 w 1543050"/>
              <a:gd name="connsiteY0" fmla="*/ 17861 h 398861"/>
              <a:gd name="connsiteX1" fmla="*/ 1543050 w 1543050"/>
              <a:gd name="connsiteY1" fmla="*/ 398861 h 398861"/>
              <a:gd name="connsiteX0" fmla="*/ 0 w 1724025"/>
              <a:gd name="connsiteY0" fmla="*/ 20173 h 372598"/>
              <a:gd name="connsiteX1" fmla="*/ 1724025 w 1724025"/>
              <a:gd name="connsiteY1" fmla="*/ 372598 h 372598"/>
              <a:gd name="connsiteX0" fmla="*/ 0 w 1724025"/>
              <a:gd name="connsiteY0" fmla="*/ 77991 h 430416"/>
              <a:gd name="connsiteX1" fmla="*/ 1724025 w 1724025"/>
              <a:gd name="connsiteY1" fmla="*/ 430416 h 430416"/>
              <a:gd name="connsiteX0" fmla="*/ 0 w 1724025"/>
              <a:gd name="connsiteY0" fmla="*/ 80781 h 433206"/>
              <a:gd name="connsiteX1" fmla="*/ 1724025 w 1724025"/>
              <a:gd name="connsiteY1" fmla="*/ 433206 h 433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4025" h="433206">
                <a:moveTo>
                  <a:pt x="0" y="80781"/>
                </a:moveTo>
                <a:cubicBezTo>
                  <a:pt x="866775" y="-135119"/>
                  <a:pt x="1457325" y="115706"/>
                  <a:pt x="1724025" y="433206"/>
                </a:cubicBezTo>
              </a:path>
            </a:pathLst>
          </a:custGeom>
          <a:noFill/>
          <a:ln w="254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>
              <a:solidFill>
                <a:srgbClr val="E12B63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3" name="TextBox 412">
            <a:extLst>
              <a:ext uri="{FF2B5EF4-FFF2-40B4-BE49-F238E27FC236}">
                <a16:creationId xmlns:a16="http://schemas.microsoft.com/office/drawing/2014/main" id="{5824F9C7-3D01-4676-804B-B72831F42D94}"/>
              </a:ext>
            </a:extLst>
          </p:cNvPr>
          <p:cNvSpPr txBox="1"/>
          <p:nvPr/>
        </p:nvSpPr>
        <p:spPr>
          <a:xfrm>
            <a:off x="8557971" y="3808749"/>
            <a:ext cx="536190" cy="2301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</a:t>
            </a:r>
          </a:p>
        </p:txBody>
      </p:sp>
      <p:sp>
        <p:nvSpPr>
          <p:cNvPr id="395" name="Rectangle 327">
            <a:extLst>
              <a:ext uri="{FF2B5EF4-FFF2-40B4-BE49-F238E27FC236}">
                <a16:creationId xmlns:a16="http://schemas.microsoft.com/office/drawing/2014/main" id="{2535422C-B6A2-4886-BB49-89953858BF47}"/>
              </a:ext>
            </a:extLst>
          </p:cNvPr>
          <p:cNvSpPr/>
          <p:nvPr/>
        </p:nvSpPr>
        <p:spPr>
          <a:xfrm>
            <a:off x="5389397" y="3593740"/>
            <a:ext cx="846383" cy="1382979"/>
          </a:xfrm>
          <a:custGeom>
            <a:avLst/>
            <a:gdLst>
              <a:gd name="connsiteX0" fmla="*/ 0 w 3060700"/>
              <a:gd name="connsiteY0" fmla="*/ 0 h 2604147"/>
              <a:gd name="connsiteX1" fmla="*/ 3060700 w 3060700"/>
              <a:gd name="connsiteY1" fmla="*/ 0 h 2604147"/>
              <a:gd name="connsiteX2" fmla="*/ 3060700 w 3060700"/>
              <a:gd name="connsiteY2" fmla="*/ 2604147 h 2604147"/>
              <a:gd name="connsiteX3" fmla="*/ 0 w 3060700"/>
              <a:gd name="connsiteY3" fmla="*/ 2604147 h 2604147"/>
              <a:gd name="connsiteX4" fmla="*/ 0 w 3060700"/>
              <a:gd name="connsiteY4" fmla="*/ 0 h 2604147"/>
              <a:gd name="connsiteX0" fmla="*/ 0 w 3060700"/>
              <a:gd name="connsiteY0" fmla="*/ 0 h 2604147"/>
              <a:gd name="connsiteX1" fmla="*/ 3060700 w 3060700"/>
              <a:gd name="connsiteY1" fmla="*/ 0 h 2604147"/>
              <a:gd name="connsiteX2" fmla="*/ 0 w 3060700"/>
              <a:gd name="connsiteY2" fmla="*/ 2604147 h 2604147"/>
              <a:gd name="connsiteX3" fmla="*/ 0 w 3060700"/>
              <a:gd name="connsiteY3" fmla="*/ 0 h 2604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0700" h="2604147">
                <a:moveTo>
                  <a:pt x="0" y="0"/>
                </a:moveTo>
                <a:lnTo>
                  <a:pt x="3060700" y="0"/>
                </a:lnTo>
                <a:lnTo>
                  <a:pt x="0" y="2604147"/>
                </a:lnTo>
                <a:lnTo>
                  <a:pt x="0" y="0"/>
                </a:lnTo>
                <a:close/>
              </a:path>
            </a:pathLst>
          </a:custGeom>
          <a:solidFill>
            <a:srgbClr val="07B2F0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96" name="Rectangle 327">
            <a:extLst>
              <a:ext uri="{FF2B5EF4-FFF2-40B4-BE49-F238E27FC236}">
                <a16:creationId xmlns:a16="http://schemas.microsoft.com/office/drawing/2014/main" id="{AB6A045C-5386-43F1-AABD-275011A50180}"/>
              </a:ext>
            </a:extLst>
          </p:cNvPr>
          <p:cNvSpPr/>
          <p:nvPr/>
        </p:nvSpPr>
        <p:spPr>
          <a:xfrm flipH="1" flipV="1">
            <a:off x="5388567" y="3593740"/>
            <a:ext cx="846383" cy="1382979"/>
          </a:xfrm>
          <a:custGeom>
            <a:avLst/>
            <a:gdLst>
              <a:gd name="connsiteX0" fmla="*/ 0 w 3060700"/>
              <a:gd name="connsiteY0" fmla="*/ 0 h 2604147"/>
              <a:gd name="connsiteX1" fmla="*/ 3060700 w 3060700"/>
              <a:gd name="connsiteY1" fmla="*/ 0 h 2604147"/>
              <a:gd name="connsiteX2" fmla="*/ 3060700 w 3060700"/>
              <a:gd name="connsiteY2" fmla="*/ 2604147 h 2604147"/>
              <a:gd name="connsiteX3" fmla="*/ 0 w 3060700"/>
              <a:gd name="connsiteY3" fmla="*/ 2604147 h 2604147"/>
              <a:gd name="connsiteX4" fmla="*/ 0 w 3060700"/>
              <a:gd name="connsiteY4" fmla="*/ 0 h 2604147"/>
              <a:gd name="connsiteX0" fmla="*/ 0 w 3060700"/>
              <a:gd name="connsiteY0" fmla="*/ 0 h 2604147"/>
              <a:gd name="connsiteX1" fmla="*/ 3060700 w 3060700"/>
              <a:gd name="connsiteY1" fmla="*/ 0 h 2604147"/>
              <a:gd name="connsiteX2" fmla="*/ 0 w 3060700"/>
              <a:gd name="connsiteY2" fmla="*/ 2604147 h 2604147"/>
              <a:gd name="connsiteX3" fmla="*/ 0 w 3060700"/>
              <a:gd name="connsiteY3" fmla="*/ 0 h 2604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0700" h="2604147">
                <a:moveTo>
                  <a:pt x="0" y="0"/>
                </a:moveTo>
                <a:lnTo>
                  <a:pt x="3060700" y="0"/>
                </a:lnTo>
                <a:lnTo>
                  <a:pt x="0" y="2604147"/>
                </a:lnTo>
                <a:lnTo>
                  <a:pt x="0" y="0"/>
                </a:lnTo>
                <a:close/>
              </a:path>
            </a:pathLst>
          </a:custGeom>
          <a:solidFill>
            <a:srgbClr val="6ED5FA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1" name="Freeform 98">
            <a:extLst>
              <a:ext uri="{FF2B5EF4-FFF2-40B4-BE49-F238E27FC236}">
                <a16:creationId xmlns:a16="http://schemas.microsoft.com/office/drawing/2014/main" id="{172E0969-533D-4749-99F2-F4303389622B}"/>
              </a:ext>
            </a:extLst>
          </p:cNvPr>
          <p:cNvSpPr>
            <a:spLocks/>
          </p:cNvSpPr>
          <p:nvPr/>
        </p:nvSpPr>
        <p:spPr bwMode="auto">
          <a:xfrm>
            <a:off x="5414328" y="3607304"/>
            <a:ext cx="779540" cy="703535"/>
          </a:xfrm>
          <a:custGeom>
            <a:avLst/>
            <a:gdLst>
              <a:gd name="T0" fmla="*/ 153 w 661"/>
              <a:gd name="T1" fmla="*/ 477 h 584"/>
              <a:gd name="T2" fmla="*/ 153 w 661"/>
              <a:gd name="T3" fmla="*/ 150 h 584"/>
              <a:gd name="T4" fmla="*/ 331 w 661"/>
              <a:gd name="T5" fmla="*/ 51 h 584"/>
              <a:gd name="T6" fmla="*/ 506 w 661"/>
              <a:gd name="T7" fmla="*/ 149 h 584"/>
              <a:gd name="T8" fmla="*/ 506 w 661"/>
              <a:gd name="T9" fmla="*/ 424 h 584"/>
              <a:gd name="T10" fmla="*/ 656 w 661"/>
              <a:gd name="T11" fmla="*/ 330 h 584"/>
              <a:gd name="T12" fmla="*/ 555 w 661"/>
              <a:gd name="T13" fmla="*/ 219 h 584"/>
              <a:gd name="T14" fmla="*/ 555 w 661"/>
              <a:gd name="T15" fmla="*/ 133 h 584"/>
              <a:gd name="T16" fmla="*/ 330 w 661"/>
              <a:gd name="T17" fmla="*/ 3 h 584"/>
              <a:gd name="T18" fmla="*/ 105 w 661"/>
              <a:gd name="T19" fmla="*/ 141 h 584"/>
              <a:gd name="T20" fmla="*/ 105 w 661"/>
              <a:gd name="T21" fmla="*/ 218 h 584"/>
              <a:gd name="T22" fmla="*/ 2 w 661"/>
              <a:gd name="T23" fmla="*/ 327 h 584"/>
              <a:gd name="T24" fmla="*/ 131 w 661"/>
              <a:gd name="T25" fmla="*/ 423 h 584"/>
              <a:gd name="T26" fmla="*/ 131 w 661"/>
              <a:gd name="T27" fmla="*/ 483 h 584"/>
              <a:gd name="T28" fmla="*/ 329 w 661"/>
              <a:gd name="T29" fmla="*/ 568 h 584"/>
              <a:gd name="T30" fmla="*/ 373 w 661"/>
              <a:gd name="T31" fmla="*/ 584 h 584"/>
              <a:gd name="T32" fmla="*/ 415 w 661"/>
              <a:gd name="T33" fmla="*/ 563 h 584"/>
              <a:gd name="T34" fmla="*/ 336 w 661"/>
              <a:gd name="T35" fmla="*/ 547 h 584"/>
              <a:gd name="T36" fmla="*/ 153 w 661"/>
              <a:gd name="T37" fmla="*/ 477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1" h="584">
                <a:moveTo>
                  <a:pt x="153" y="477"/>
                </a:moveTo>
                <a:cubicBezTo>
                  <a:pt x="153" y="150"/>
                  <a:pt x="153" y="150"/>
                  <a:pt x="153" y="150"/>
                </a:cubicBezTo>
                <a:cubicBezTo>
                  <a:pt x="153" y="150"/>
                  <a:pt x="224" y="47"/>
                  <a:pt x="331" y="51"/>
                </a:cubicBezTo>
                <a:cubicBezTo>
                  <a:pt x="438" y="54"/>
                  <a:pt x="506" y="149"/>
                  <a:pt x="506" y="149"/>
                </a:cubicBezTo>
                <a:cubicBezTo>
                  <a:pt x="506" y="424"/>
                  <a:pt x="506" y="424"/>
                  <a:pt x="506" y="424"/>
                </a:cubicBezTo>
                <a:cubicBezTo>
                  <a:pt x="506" y="424"/>
                  <a:pt x="652" y="434"/>
                  <a:pt x="656" y="330"/>
                </a:cubicBezTo>
                <a:cubicBezTo>
                  <a:pt x="661" y="226"/>
                  <a:pt x="555" y="219"/>
                  <a:pt x="555" y="219"/>
                </a:cubicBezTo>
                <a:cubicBezTo>
                  <a:pt x="555" y="133"/>
                  <a:pt x="555" y="133"/>
                  <a:pt x="555" y="133"/>
                </a:cubicBezTo>
                <a:cubicBezTo>
                  <a:pt x="555" y="133"/>
                  <a:pt x="489" y="6"/>
                  <a:pt x="330" y="3"/>
                </a:cubicBezTo>
                <a:cubicBezTo>
                  <a:pt x="171" y="0"/>
                  <a:pt x="105" y="141"/>
                  <a:pt x="105" y="141"/>
                </a:cubicBezTo>
                <a:cubicBezTo>
                  <a:pt x="105" y="218"/>
                  <a:pt x="105" y="218"/>
                  <a:pt x="105" y="218"/>
                </a:cubicBezTo>
                <a:cubicBezTo>
                  <a:pt x="105" y="218"/>
                  <a:pt x="5" y="234"/>
                  <a:pt x="2" y="327"/>
                </a:cubicBezTo>
                <a:cubicBezTo>
                  <a:pt x="0" y="421"/>
                  <a:pt x="131" y="423"/>
                  <a:pt x="131" y="423"/>
                </a:cubicBezTo>
                <a:cubicBezTo>
                  <a:pt x="131" y="483"/>
                  <a:pt x="131" y="483"/>
                  <a:pt x="131" y="483"/>
                </a:cubicBezTo>
                <a:cubicBezTo>
                  <a:pt x="131" y="483"/>
                  <a:pt x="164" y="551"/>
                  <a:pt x="329" y="568"/>
                </a:cubicBezTo>
                <a:cubicBezTo>
                  <a:pt x="342" y="576"/>
                  <a:pt x="352" y="584"/>
                  <a:pt x="373" y="584"/>
                </a:cubicBezTo>
                <a:cubicBezTo>
                  <a:pt x="395" y="584"/>
                  <a:pt x="418" y="576"/>
                  <a:pt x="415" y="563"/>
                </a:cubicBezTo>
                <a:cubicBezTo>
                  <a:pt x="413" y="549"/>
                  <a:pt x="395" y="533"/>
                  <a:pt x="336" y="547"/>
                </a:cubicBezTo>
                <a:cubicBezTo>
                  <a:pt x="307" y="546"/>
                  <a:pt x="230" y="532"/>
                  <a:pt x="153" y="477"/>
                </a:cubicBezTo>
                <a:close/>
              </a:path>
            </a:pathLst>
          </a:custGeom>
          <a:solidFill>
            <a:srgbClr val="0073C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7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2" name="TextBox 401">
            <a:extLst>
              <a:ext uri="{FF2B5EF4-FFF2-40B4-BE49-F238E27FC236}">
                <a16:creationId xmlns:a16="http://schemas.microsoft.com/office/drawing/2014/main" id="{A8866C5F-B55E-46EF-B692-B7EC690F2460}"/>
              </a:ext>
            </a:extLst>
          </p:cNvPr>
          <p:cNvSpPr txBox="1"/>
          <p:nvPr/>
        </p:nvSpPr>
        <p:spPr>
          <a:xfrm>
            <a:off x="5630144" y="3791184"/>
            <a:ext cx="3672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LY</a:t>
            </a:r>
          </a:p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3%</a:t>
            </a:r>
          </a:p>
        </p:txBody>
      </p:sp>
      <p:sp>
        <p:nvSpPr>
          <p:cNvPr id="404" name="TextBox 403">
            <a:extLst>
              <a:ext uri="{FF2B5EF4-FFF2-40B4-BE49-F238E27FC236}">
                <a16:creationId xmlns:a16="http://schemas.microsoft.com/office/drawing/2014/main" id="{BC07005D-4BD9-4534-9600-3BDFBEFEF591}"/>
              </a:ext>
            </a:extLst>
          </p:cNvPr>
          <p:cNvSpPr txBox="1"/>
          <p:nvPr/>
        </p:nvSpPr>
        <p:spPr>
          <a:xfrm>
            <a:off x="5430676" y="4362836"/>
            <a:ext cx="802319" cy="446276"/>
          </a:xfrm>
          <a:prstGeom prst="rect">
            <a:avLst/>
          </a:prstGeom>
          <a:noFill/>
        </p:spPr>
        <p:txBody>
          <a:bodyPr wrap="square" lIns="15240" tIns="7620" rIns="15240" bIns="7620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 satisfied with</a:t>
            </a:r>
          </a:p>
          <a:p>
            <a:r>
              <a:rPr lang="en-US" sz="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ess to customer service information</a:t>
            </a:r>
          </a:p>
          <a:p>
            <a:r>
              <a:rPr lang="en-US" sz="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ring checkout</a:t>
            </a:r>
          </a:p>
        </p:txBody>
      </p:sp>
      <p:sp>
        <p:nvSpPr>
          <p:cNvPr id="381" name="Rectangle 380">
            <a:extLst>
              <a:ext uri="{FF2B5EF4-FFF2-40B4-BE49-F238E27FC236}">
                <a16:creationId xmlns:a16="http://schemas.microsoft.com/office/drawing/2014/main" id="{959A2097-058F-40DE-8AB8-B6A9F182A71E}"/>
              </a:ext>
            </a:extLst>
          </p:cNvPr>
          <p:cNvSpPr/>
          <p:nvPr/>
        </p:nvSpPr>
        <p:spPr>
          <a:xfrm>
            <a:off x="6335754" y="3593740"/>
            <a:ext cx="1454380" cy="1382979"/>
          </a:xfrm>
          <a:prstGeom prst="rect">
            <a:avLst/>
          </a:prstGeom>
          <a:solidFill>
            <a:srgbClr val="09B2F0">
              <a:alpha val="9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8" name="Rectangle 57">
            <a:extLst>
              <a:ext uri="{FF2B5EF4-FFF2-40B4-BE49-F238E27FC236}">
                <a16:creationId xmlns:a16="http://schemas.microsoft.com/office/drawing/2014/main" id="{3D76FA50-2A18-46B7-BCF6-3207F75B5F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2190" y="4134827"/>
            <a:ext cx="667383" cy="786554"/>
          </a:xfrm>
          <a:prstGeom prst="rect">
            <a:avLst/>
          </a:prstGeom>
          <a:noFill/>
          <a:ln w="50800" cap="flat">
            <a:solidFill>
              <a:srgbClr val="0073C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5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9" name="Rectangle 58">
            <a:extLst>
              <a:ext uri="{FF2B5EF4-FFF2-40B4-BE49-F238E27FC236}">
                <a16:creationId xmlns:a16="http://schemas.microsoft.com/office/drawing/2014/main" id="{9F1FDFAF-8351-4010-832A-7CB288D4D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2190" y="4134826"/>
            <a:ext cx="667383" cy="188025"/>
          </a:xfrm>
          <a:prstGeom prst="rect">
            <a:avLst/>
          </a:prstGeom>
          <a:solidFill>
            <a:srgbClr val="0073C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5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2" name="Group 551">
            <a:extLst>
              <a:ext uri="{FF2B5EF4-FFF2-40B4-BE49-F238E27FC236}">
                <a16:creationId xmlns:a16="http://schemas.microsoft.com/office/drawing/2014/main" id="{E6196C4E-03EE-4701-8AF7-9560B02D880F}"/>
              </a:ext>
            </a:extLst>
          </p:cNvPr>
          <p:cNvGrpSpPr/>
          <p:nvPr/>
        </p:nvGrpSpPr>
        <p:grpSpPr>
          <a:xfrm>
            <a:off x="7083105" y="4341017"/>
            <a:ext cx="584342" cy="537542"/>
            <a:chOff x="6280058" y="4296429"/>
            <a:chExt cx="608068" cy="592083"/>
          </a:xfrm>
        </p:grpSpPr>
        <p:sp>
          <p:nvSpPr>
            <p:cNvPr id="342" name="Rectangle 61">
              <a:extLst>
                <a:ext uri="{FF2B5EF4-FFF2-40B4-BE49-F238E27FC236}">
                  <a16:creationId xmlns:a16="http://schemas.microsoft.com/office/drawing/2014/main" id="{205BDEA4-A11A-4C35-8332-196A4D1001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4335" y="4296429"/>
              <a:ext cx="110961" cy="125995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3" name="Rectangle 62">
              <a:extLst>
                <a:ext uri="{FF2B5EF4-FFF2-40B4-BE49-F238E27FC236}">
                  <a16:creationId xmlns:a16="http://schemas.microsoft.com/office/drawing/2014/main" id="{EC7F26D6-38E0-4FC1-A10B-014CEB6AC6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8612" y="4296429"/>
              <a:ext cx="110961" cy="125995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4" name="Rectangle 63">
              <a:extLst>
                <a:ext uri="{FF2B5EF4-FFF2-40B4-BE49-F238E27FC236}">
                  <a16:creationId xmlns:a16="http://schemas.microsoft.com/office/drawing/2014/main" id="{9F31B8D4-1751-426A-8894-431A56D918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2889" y="4296429"/>
              <a:ext cx="110961" cy="125995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5" name="Rectangle 64">
              <a:extLst>
                <a:ext uri="{FF2B5EF4-FFF2-40B4-BE49-F238E27FC236}">
                  <a16:creationId xmlns:a16="http://schemas.microsoft.com/office/drawing/2014/main" id="{7768B332-419C-4C0E-A595-308DE2BC99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77165" y="4296429"/>
              <a:ext cx="110961" cy="125995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8" name="Rectangle 67">
              <a:extLst>
                <a:ext uri="{FF2B5EF4-FFF2-40B4-BE49-F238E27FC236}">
                  <a16:creationId xmlns:a16="http://schemas.microsoft.com/office/drawing/2014/main" id="{173712F4-E644-43EB-9986-E5E062BC80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0058" y="4451640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49" name="Rectangle 68">
              <a:extLst>
                <a:ext uri="{FF2B5EF4-FFF2-40B4-BE49-F238E27FC236}">
                  <a16:creationId xmlns:a16="http://schemas.microsoft.com/office/drawing/2014/main" id="{8239185A-2969-47BC-AA18-F87B363978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4335" y="4451640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0" name="Rectangle 69">
              <a:extLst>
                <a:ext uri="{FF2B5EF4-FFF2-40B4-BE49-F238E27FC236}">
                  <a16:creationId xmlns:a16="http://schemas.microsoft.com/office/drawing/2014/main" id="{731DAEFE-93F6-4EEA-BECE-E3C901D90B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8612" y="4451640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1" name="Rectangle 70">
              <a:extLst>
                <a:ext uri="{FF2B5EF4-FFF2-40B4-BE49-F238E27FC236}">
                  <a16:creationId xmlns:a16="http://schemas.microsoft.com/office/drawing/2014/main" id="{4A69ABC1-E89E-4BB2-B2B1-73A621A87F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2889" y="4451640"/>
              <a:ext cx="110961" cy="12553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2" name="Rectangle 71">
              <a:extLst>
                <a:ext uri="{FF2B5EF4-FFF2-40B4-BE49-F238E27FC236}">
                  <a16:creationId xmlns:a16="http://schemas.microsoft.com/office/drawing/2014/main" id="{29ACEACD-907F-4133-95F2-C520BC281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77165" y="4451640"/>
              <a:ext cx="110961" cy="12553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5" name="Rectangle 74">
              <a:extLst>
                <a:ext uri="{FF2B5EF4-FFF2-40B4-BE49-F238E27FC236}">
                  <a16:creationId xmlns:a16="http://schemas.microsoft.com/office/drawing/2014/main" id="{4B901AE7-9241-4657-B410-AE4BB31C59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0058" y="4607307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6" name="Rectangle 75">
              <a:extLst>
                <a:ext uri="{FF2B5EF4-FFF2-40B4-BE49-F238E27FC236}">
                  <a16:creationId xmlns:a16="http://schemas.microsoft.com/office/drawing/2014/main" id="{E825252D-8A80-4784-8788-B219D3F3B1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4335" y="4607307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7" name="Rectangle 76">
              <a:extLst>
                <a:ext uri="{FF2B5EF4-FFF2-40B4-BE49-F238E27FC236}">
                  <a16:creationId xmlns:a16="http://schemas.microsoft.com/office/drawing/2014/main" id="{D370E3FA-C073-46D6-BA2A-D9B7762302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8612" y="4607307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8" name="Rectangle 77">
              <a:extLst>
                <a:ext uri="{FF2B5EF4-FFF2-40B4-BE49-F238E27FC236}">
                  <a16:creationId xmlns:a16="http://schemas.microsoft.com/office/drawing/2014/main" id="{A9952138-DE8A-4227-A3D7-1E31A3A67C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2889" y="4607307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9" name="Rectangle 78">
              <a:extLst>
                <a:ext uri="{FF2B5EF4-FFF2-40B4-BE49-F238E27FC236}">
                  <a16:creationId xmlns:a16="http://schemas.microsoft.com/office/drawing/2014/main" id="{5726F5A3-DA54-4351-A6BD-F312F42D82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77165" y="4607307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2" name="Rectangle 81">
              <a:extLst>
                <a:ext uri="{FF2B5EF4-FFF2-40B4-BE49-F238E27FC236}">
                  <a16:creationId xmlns:a16="http://schemas.microsoft.com/office/drawing/2014/main" id="{F75526FF-426E-4EE1-A874-E06F57EB5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0058" y="4762974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3" name="Rectangle 82">
              <a:extLst>
                <a:ext uri="{FF2B5EF4-FFF2-40B4-BE49-F238E27FC236}">
                  <a16:creationId xmlns:a16="http://schemas.microsoft.com/office/drawing/2014/main" id="{A5400518-C2F2-4480-A5DA-50C658D59C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4335" y="4762974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4" name="Rectangle 83">
              <a:extLst>
                <a:ext uri="{FF2B5EF4-FFF2-40B4-BE49-F238E27FC236}">
                  <a16:creationId xmlns:a16="http://schemas.microsoft.com/office/drawing/2014/main" id="{FA5A0589-B641-4572-817B-457E3C2BB6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8612" y="4762974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65" name="Rectangle 84">
              <a:extLst>
                <a:ext uri="{FF2B5EF4-FFF2-40B4-BE49-F238E27FC236}">
                  <a16:creationId xmlns:a16="http://schemas.microsoft.com/office/drawing/2014/main" id="{1525860D-FF78-4E43-AB08-70A37C52FC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2889" y="4762974"/>
              <a:ext cx="110961" cy="125538"/>
            </a:xfrm>
            <a:prstGeom prst="rect">
              <a:avLst/>
            </a:prstGeom>
            <a:solidFill>
              <a:srgbClr val="0073C2"/>
            </a:solidFill>
            <a:ln>
              <a:solidFill>
                <a:srgbClr val="0073C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5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77" name="TextBox 376">
            <a:extLst>
              <a:ext uri="{FF2B5EF4-FFF2-40B4-BE49-F238E27FC236}">
                <a16:creationId xmlns:a16="http://schemas.microsoft.com/office/drawing/2014/main" id="{1415EF36-2551-4AEF-BA47-430B2E48246B}"/>
              </a:ext>
            </a:extLst>
          </p:cNvPr>
          <p:cNvSpPr txBox="1"/>
          <p:nvPr/>
        </p:nvSpPr>
        <p:spPr>
          <a:xfrm>
            <a:off x="6368671" y="3647409"/>
            <a:ext cx="6502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3%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3B869182-784E-4204-9DD9-9B7915D96EDC}"/>
              </a:ext>
            </a:extLst>
          </p:cNvPr>
          <p:cNvSpPr txBox="1"/>
          <p:nvPr/>
        </p:nvSpPr>
        <p:spPr>
          <a:xfrm>
            <a:off x="6312863" y="4119885"/>
            <a:ext cx="74695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days or more to get free shipping</a:t>
            </a: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7F0533FC-BDDE-47D7-B4D7-EB215EFDA148}"/>
              </a:ext>
            </a:extLst>
          </p:cNvPr>
          <p:cNvSpPr txBox="1"/>
          <p:nvPr/>
        </p:nvSpPr>
        <p:spPr>
          <a:xfrm>
            <a:off x="7020849" y="3637744"/>
            <a:ext cx="74017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 shoppers are</a:t>
            </a:r>
          </a:p>
          <a:p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lling to wait an additional</a:t>
            </a: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id="{2329EBE6-2210-4D1E-9C71-C388D90F3713}"/>
              </a:ext>
            </a:extLst>
          </p:cNvPr>
          <p:cNvSpPr/>
          <p:nvPr/>
        </p:nvSpPr>
        <p:spPr>
          <a:xfrm>
            <a:off x="3649169" y="4433819"/>
            <a:ext cx="1662315" cy="528706"/>
          </a:xfrm>
          <a:custGeom>
            <a:avLst/>
            <a:gdLst>
              <a:gd name="connsiteX0" fmla="*/ 0 w 3060700"/>
              <a:gd name="connsiteY0" fmla="*/ 0 h 2604147"/>
              <a:gd name="connsiteX1" fmla="*/ 3060700 w 3060700"/>
              <a:gd name="connsiteY1" fmla="*/ 0 h 2604147"/>
              <a:gd name="connsiteX2" fmla="*/ 3060700 w 3060700"/>
              <a:gd name="connsiteY2" fmla="*/ 2604147 h 2604147"/>
              <a:gd name="connsiteX3" fmla="*/ 0 w 3060700"/>
              <a:gd name="connsiteY3" fmla="*/ 2604147 h 2604147"/>
              <a:gd name="connsiteX4" fmla="*/ 0 w 3060700"/>
              <a:gd name="connsiteY4" fmla="*/ 0 h 2604147"/>
              <a:gd name="connsiteX0" fmla="*/ 0 w 3060700"/>
              <a:gd name="connsiteY0" fmla="*/ 0 h 2604147"/>
              <a:gd name="connsiteX1" fmla="*/ 3060700 w 3060700"/>
              <a:gd name="connsiteY1" fmla="*/ 0 h 2604147"/>
              <a:gd name="connsiteX2" fmla="*/ 0 w 3060700"/>
              <a:gd name="connsiteY2" fmla="*/ 2604147 h 2604147"/>
              <a:gd name="connsiteX3" fmla="*/ 0 w 3060700"/>
              <a:gd name="connsiteY3" fmla="*/ 0 h 2604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0700" h="2604147">
                <a:moveTo>
                  <a:pt x="0" y="0"/>
                </a:moveTo>
                <a:lnTo>
                  <a:pt x="3060700" y="0"/>
                </a:lnTo>
                <a:lnTo>
                  <a:pt x="0" y="2604147"/>
                </a:lnTo>
                <a:lnTo>
                  <a:pt x="0" y="0"/>
                </a:lnTo>
                <a:close/>
              </a:path>
            </a:pathLst>
          </a:custGeom>
          <a:solidFill>
            <a:srgbClr val="0BB3F0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2" name="Rectangle 327">
            <a:extLst>
              <a:ext uri="{FF2B5EF4-FFF2-40B4-BE49-F238E27FC236}">
                <a16:creationId xmlns:a16="http://schemas.microsoft.com/office/drawing/2014/main" id="{04BC2325-9D80-4AD0-86A8-174097DCA4B7}"/>
              </a:ext>
            </a:extLst>
          </p:cNvPr>
          <p:cNvSpPr/>
          <p:nvPr/>
        </p:nvSpPr>
        <p:spPr>
          <a:xfrm flipH="1" flipV="1">
            <a:off x="3648241" y="4433819"/>
            <a:ext cx="1662315" cy="528706"/>
          </a:xfrm>
          <a:custGeom>
            <a:avLst/>
            <a:gdLst>
              <a:gd name="connsiteX0" fmla="*/ 0 w 3060700"/>
              <a:gd name="connsiteY0" fmla="*/ 0 h 2604147"/>
              <a:gd name="connsiteX1" fmla="*/ 3060700 w 3060700"/>
              <a:gd name="connsiteY1" fmla="*/ 0 h 2604147"/>
              <a:gd name="connsiteX2" fmla="*/ 3060700 w 3060700"/>
              <a:gd name="connsiteY2" fmla="*/ 2604147 h 2604147"/>
              <a:gd name="connsiteX3" fmla="*/ 0 w 3060700"/>
              <a:gd name="connsiteY3" fmla="*/ 2604147 h 2604147"/>
              <a:gd name="connsiteX4" fmla="*/ 0 w 3060700"/>
              <a:gd name="connsiteY4" fmla="*/ 0 h 2604147"/>
              <a:gd name="connsiteX0" fmla="*/ 0 w 3060700"/>
              <a:gd name="connsiteY0" fmla="*/ 0 h 2604147"/>
              <a:gd name="connsiteX1" fmla="*/ 3060700 w 3060700"/>
              <a:gd name="connsiteY1" fmla="*/ 0 h 2604147"/>
              <a:gd name="connsiteX2" fmla="*/ 0 w 3060700"/>
              <a:gd name="connsiteY2" fmla="*/ 2604147 h 2604147"/>
              <a:gd name="connsiteX3" fmla="*/ 0 w 3060700"/>
              <a:gd name="connsiteY3" fmla="*/ 0 h 2604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60700" h="2604147">
                <a:moveTo>
                  <a:pt x="0" y="0"/>
                </a:moveTo>
                <a:lnTo>
                  <a:pt x="3060700" y="0"/>
                </a:lnTo>
                <a:lnTo>
                  <a:pt x="0" y="2604147"/>
                </a:lnTo>
                <a:lnTo>
                  <a:pt x="0" y="0"/>
                </a:lnTo>
                <a:close/>
              </a:path>
            </a:pathLst>
          </a:custGeom>
          <a:solidFill>
            <a:srgbClr val="6ED5FA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65DE2D49-0FC7-4789-9131-2CB718D88238}"/>
              </a:ext>
            </a:extLst>
          </p:cNvPr>
          <p:cNvSpPr txBox="1"/>
          <p:nvPr/>
        </p:nvSpPr>
        <p:spPr>
          <a:xfrm>
            <a:off x="3686351" y="4446198"/>
            <a:ext cx="55252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6%</a:t>
            </a:r>
          </a:p>
        </p:txBody>
      </p:sp>
      <p:sp>
        <p:nvSpPr>
          <p:cNvPr id="330" name="TextBox 329">
            <a:extLst>
              <a:ext uri="{FF2B5EF4-FFF2-40B4-BE49-F238E27FC236}">
                <a16:creationId xmlns:a16="http://schemas.microsoft.com/office/drawing/2014/main" id="{0A1CCF99-A015-4D30-983E-D185364C6226}"/>
              </a:ext>
            </a:extLst>
          </p:cNvPr>
          <p:cNvSpPr txBox="1"/>
          <p:nvPr/>
        </p:nvSpPr>
        <p:spPr>
          <a:xfrm>
            <a:off x="3683821" y="4661083"/>
            <a:ext cx="1145866" cy="269304"/>
          </a:xfrm>
          <a:prstGeom prst="rect">
            <a:avLst/>
          </a:prstGeom>
          <a:noFill/>
        </p:spPr>
        <p:txBody>
          <a:bodyPr wrap="square" lIns="15240" tIns="7620" rIns="15240" bIns="7620" rtlCol="0">
            <a:spAutoFit/>
          </a:bodyPr>
          <a:lstStyle/>
          <a:p>
            <a:r>
              <a:rPr lang="en-US" sz="5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fer to see the </a:t>
            </a:r>
            <a:r>
              <a:rPr lang="en-US" sz="55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UAL DATE OF ARRIVAL </a:t>
            </a:r>
            <a:r>
              <a:rPr lang="en-US" sz="55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ather than the number of days (5 business days)</a:t>
            </a:r>
          </a:p>
        </p:txBody>
      </p:sp>
      <p:sp>
        <p:nvSpPr>
          <p:cNvPr id="422" name="Rectangle 421">
            <a:extLst>
              <a:ext uri="{FF2B5EF4-FFF2-40B4-BE49-F238E27FC236}">
                <a16:creationId xmlns:a16="http://schemas.microsoft.com/office/drawing/2014/main" id="{B908EFF7-7897-4ED6-9B62-7F3F5C816B66}"/>
              </a:ext>
            </a:extLst>
          </p:cNvPr>
          <p:cNvSpPr/>
          <p:nvPr/>
        </p:nvSpPr>
        <p:spPr>
          <a:xfrm>
            <a:off x="4843676" y="4473223"/>
            <a:ext cx="386431" cy="457441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6B43BBE0-6613-4123-9281-BDE04F436CFB}"/>
              </a:ext>
            </a:extLst>
          </p:cNvPr>
          <p:cNvSpPr/>
          <p:nvPr/>
        </p:nvSpPr>
        <p:spPr>
          <a:xfrm>
            <a:off x="4843676" y="4473223"/>
            <a:ext cx="386431" cy="125179"/>
          </a:xfrm>
          <a:prstGeom prst="rect">
            <a:avLst/>
          </a:prstGeom>
          <a:solidFill>
            <a:srgbClr val="0AB2F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700" dirty="0">
                <a:latin typeface="Calibri" panose="020F0502020204030204" pitchFamily="34" charset="0"/>
                <a:cs typeface="Calibri" panose="020F0502020204030204" pitchFamily="34" charset="0"/>
              </a:rPr>
              <a:t>JUNE</a:t>
            </a:r>
          </a:p>
        </p:txBody>
      </p:sp>
      <p:sp>
        <p:nvSpPr>
          <p:cNvPr id="424" name="TextBox 423">
            <a:extLst>
              <a:ext uri="{FF2B5EF4-FFF2-40B4-BE49-F238E27FC236}">
                <a16:creationId xmlns:a16="http://schemas.microsoft.com/office/drawing/2014/main" id="{E8A85777-7DE3-4227-9EE2-092E7F16F23A}"/>
              </a:ext>
            </a:extLst>
          </p:cNvPr>
          <p:cNvSpPr txBox="1"/>
          <p:nvPr/>
        </p:nvSpPr>
        <p:spPr>
          <a:xfrm>
            <a:off x="4916134" y="4566718"/>
            <a:ext cx="25569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>
                <a:solidFill>
                  <a:srgbClr val="0AB2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78DE9EF0-0C0C-40D8-A909-AE3593C016EF}"/>
              </a:ext>
            </a:extLst>
          </p:cNvPr>
          <p:cNvSpPr/>
          <p:nvPr/>
        </p:nvSpPr>
        <p:spPr>
          <a:xfrm>
            <a:off x="4843676" y="4800413"/>
            <a:ext cx="386431" cy="144073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5240" tIns="7620" rIns="15240" bIns="7620" rtlCol="0" anchor="ctr"/>
          <a:lstStyle/>
          <a:p>
            <a:pPr algn="ctr"/>
            <a:r>
              <a:rPr lang="en-US" sz="500" dirty="0">
                <a:solidFill>
                  <a:srgbClr val="0AB2F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ESDAY</a:t>
            </a:r>
          </a:p>
        </p:txBody>
      </p:sp>
      <p:sp>
        <p:nvSpPr>
          <p:cNvPr id="485" name="Freeform 131">
            <a:extLst>
              <a:ext uri="{FF2B5EF4-FFF2-40B4-BE49-F238E27FC236}">
                <a16:creationId xmlns:a16="http://schemas.microsoft.com/office/drawing/2014/main" id="{1935A2EB-F63D-48C2-AB36-3F831906D8AB}"/>
              </a:ext>
            </a:extLst>
          </p:cNvPr>
          <p:cNvSpPr>
            <a:spLocks noEditPoints="1"/>
          </p:cNvSpPr>
          <p:nvPr/>
        </p:nvSpPr>
        <p:spPr bwMode="auto">
          <a:xfrm>
            <a:off x="4842484" y="2687638"/>
            <a:ext cx="1301750" cy="2066925"/>
          </a:xfrm>
          <a:custGeom>
            <a:avLst/>
            <a:gdLst>
              <a:gd name="T0" fmla="*/ 0 w 820"/>
              <a:gd name="T1" fmla="*/ 0 h 1302"/>
              <a:gd name="T2" fmla="*/ 0 w 820"/>
              <a:gd name="T3" fmla="*/ 1302 h 1302"/>
              <a:gd name="T4" fmla="*/ 820 w 820"/>
              <a:gd name="T5" fmla="*/ 648 h 1302"/>
              <a:gd name="T6" fmla="*/ 0 w 820"/>
              <a:gd name="T7" fmla="*/ 0 h 1302"/>
              <a:gd name="T8" fmla="*/ 0 w 820"/>
              <a:gd name="T9" fmla="*/ 0 h 1302"/>
              <a:gd name="T10" fmla="*/ 0 w 820"/>
              <a:gd name="T11" fmla="*/ 0 h 1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20" h="1302">
                <a:moveTo>
                  <a:pt x="0" y="0"/>
                </a:moveTo>
                <a:lnTo>
                  <a:pt x="0" y="1302"/>
                </a:lnTo>
                <a:lnTo>
                  <a:pt x="820" y="648"/>
                </a:lnTo>
                <a:lnTo>
                  <a:pt x="0" y="0"/>
                </a:lnTo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88" name="Freeform 134">
            <a:extLst>
              <a:ext uri="{FF2B5EF4-FFF2-40B4-BE49-F238E27FC236}">
                <a16:creationId xmlns:a16="http://schemas.microsoft.com/office/drawing/2014/main" id="{30E3F392-5FEB-46F0-9019-32EEC7AD4D7C}"/>
              </a:ext>
            </a:extLst>
          </p:cNvPr>
          <p:cNvSpPr>
            <a:spLocks noEditPoints="1"/>
          </p:cNvSpPr>
          <p:nvPr/>
        </p:nvSpPr>
        <p:spPr bwMode="auto">
          <a:xfrm>
            <a:off x="4934559" y="3781425"/>
            <a:ext cx="3778250" cy="1071563"/>
          </a:xfrm>
          <a:custGeom>
            <a:avLst/>
            <a:gdLst>
              <a:gd name="T0" fmla="*/ 1536 w 2380"/>
              <a:gd name="T1" fmla="*/ 0 h 675"/>
              <a:gd name="T2" fmla="*/ 845 w 2380"/>
              <a:gd name="T3" fmla="*/ 0 h 675"/>
              <a:gd name="T4" fmla="*/ 0 w 2380"/>
              <a:gd name="T5" fmla="*/ 675 h 675"/>
              <a:gd name="T6" fmla="*/ 2380 w 2380"/>
              <a:gd name="T7" fmla="*/ 675 h 675"/>
              <a:gd name="T8" fmla="*/ 1536 w 2380"/>
              <a:gd name="T9" fmla="*/ 0 h 675"/>
              <a:gd name="T10" fmla="*/ 1536 w 2380"/>
              <a:gd name="T11" fmla="*/ 0 h 675"/>
              <a:gd name="T12" fmla="*/ 1536 w 2380"/>
              <a:gd name="T13" fmla="*/ 0 h 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80" h="675">
                <a:moveTo>
                  <a:pt x="1536" y="0"/>
                </a:moveTo>
                <a:lnTo>
                  <a:pt x="845" y="0"/>
                </a:lnTo>
                <a:lnTo>
                  <a:pt x="0" y="675"/>
                </a:lnTo>
                <a:lnTo>
                  <a:pt x="2380" y="675"/>
                </a:lnTo>
                <a:lnTo>
                  <a:pt x="1536" y="0"/>
                </a:lnTo>
                <a:moveTo>
                  <a:pt x="1536" y="0"/>
                </a:moveTo>
                <a:lnTo>
                  <a:pt x="153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0" name="Freeform 136">
            <a:extLst>
              <a:ext uri="{FF2B5EF4-FFF2-40B4-BE49-F238E27FC236}">
                <a16:creationId xmlns:a16="http://schemas.microsoft.com/office/drawing/2014/main" id="{15B01571-6074-4692-B5FE-FB395DCC8C22}"/>
              </a:ext>
            </a:extLst>
          </p:cNvPr>
          <p:cNvSpPr>
            <a:spLocks noEditPoints="1"/>
          </p:cNvSpPr>
          <p:nvPr/>
        </p:nvSpPr>
        <p:spPr bwMode="auto">
          <a:xfrm>
            <a:off x="7501547" y="2635250"/>
            <a:ext cx="1370013" cy="2174875"/>
          </a:xfrm>
          <a:custGeom>
            <a:avLst/>
            <a:gdLst>
              <a:gd name="T0" fmla="*/ 0 w 863"/>
              <a:gd name="T1" fmla="*/ 681 h 1370"/>
              <a:gd name="T2" fmla="*/ 863 w 863"/>
              <a:gd name="T3" fmla="*/ 1370 h 1370"/>
              <a:gd name="T4" fmla="*/ 863 w 863"/>
              <a:gd name="T5" fmla="*/ 0 h 1370"/>
              <a:gd name="T6" fmla="*/ 0 w 863"/>
              <a:gd name="T7" fmla="*/ 681 h 1370"/>
              <a:gd name="T8" fmla="*/ 0 w 863"/>
              <a:gd name="T9" fmla="*/ 681 h 1370"/>
              <a:gd name="T10" fmla="*/ 0 w 863"/>
              <a:gd name="T11" fmla="*/ 681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63" h="1370">
                <a:moveTo>
                  <a:pt x="0" y="681"/>
                </a:moveTo>
                <a:lnTo>
                  <a:pt x="863" y="1370"/>
                </a:lnTo>
                <a:lnTo>
                  <a:pt x="863" y="0"/>
                </a:lnTo>
                <a:lnTo>
                  <a:pt x="0" y="681"/>
                </a:lnTo>
                <a:moveTo>
                  <a:pt x="0" y="681"/>
                </a:moveTo>
                <a:lnTo>
                  <a:pt x="0" y="68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96D14574-8686-42E9-8FD7-E83642717F80}"/>
              </a:ext>
            </a:extLst>
          </p:cNvPr>
          <p:cNvSpPr/>
          <p:nvPr/>
        </p:nvSpPr>
        <p:spPr>
          <a:xfrm>
            <a:off x="1849543" y="5377075"/>
            <a:ext cx="1093090" cy="677767"/>
          </a:xfrm>
          <a:prstGeom prst="rect">
            <a:avLst/>
          </a:prstGeom>
          <a:solidFill>
            <a:srgbClr val="0072C1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0" name="Rectangle 429">
            <a:extLst>
              <a:ext uri="{FF2B5EF4-FFF2-40B4-BE49-F238E27FC236}">
                <a16:creationId xmlns:a16="http://schemas.microsoft.com/office/drawing/2014/main" id="{14AF2A8F-7669-4A66-B139-E81CF5F9A7BB}"/>
              </a:ext>
            </a:extLst>
          </p:cNvPr>
          <p:cNvSpPr/>
          <p:nvPr/>
        </p:nvSpPr>
        <p:spPr>
          <a:xfrm>
            <a:off x="1849543" y="6117093"/>
            <a:ext cx="1093090" cy="662567"/>
          </a:xfrm>
          <a:prstGeom prst="rect">
            <a:avLst/>
          </a:prstGeom>
          <a:solidFill>
            <a:srgbClr val="0072C1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3A2AB10D-4D87-4BEE-9C98-7C5B145B3F68}"/>
              </a:ext>
            </a:extLst>
          </p:cNvPr>
          <p:cNvSpPr/>
          <p:nvPr/>
        </p:nvSpPr>
        <p:spPr>
          <a:xfrm>
            <a:off x="3046959" y="5380129"/>
            <a:ext cx="1093090" cy="662567"/>
          </a:xfrm>
          <a:prstGeom prst="rect">
            <a:avLst/>
          </a:prstGeom>
          <a:solidFill>
            <a:srgbClr val="0074C3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2" name="Rectangle 431">
            <a:extLst>
              <a:ext uri="{FF2B5EF4-FFF2-40B4-BE49-F238E27FC236}">
                <a16:creationId xmlns:a16="http://schemas.microsoft.com/office/drawing/2014/main" id="{7C4336D4-C1B9-4A06-BC0F-BA899EF97B38}"/>
              </a:ext>
            </a:extLst>
          </p:cNvPr>
          <p:cNvSpPr/>
          <p:nvPr/>
        </p:nvSpPr>
        <p:spPr>
          <a:xfrm>
            <a:off x="3046959" y="6117093"/>
            <a:ext cx="1093090" cy="662567"/>
          </a:xfrm>
          <a:prstGeom prst="rect">
            <a:avLst/>
          </a:prstGeom>
          <a:solidFill>
            <a:srgbClr val="0072C1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3" name="Rectangle 432">
            <a:extLst>
              <a:ext uri="{FF2B5EF4-FFF2-40B4-BE49-F238E27FC236}">
                <a16:creationId xmlns:a16="http://schemas.microsoft.com/office/drawing/2014/main" id="{9922A94B-C307-4A76-AFFD-B41E0031E3AE}"/>
              </a:ext>
            </a:extLst>
          </p:cNvPr>
          <p:cNvSpPr/>
          <p:nvPr/>
        </p:nvSpPr>
        <p:spPr>
          <a:xfrm>
            <a:off x="4259078" y="5380129"/>
            <a:ext cx="1578581" cy="662567"/>
          </a:xfrm>
          <a:prstGeom prst="rect">
            <a:avLst/>
          </a:prstGeom>
          <a:solidFill>
            <a:srgbClr val="0073C2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6">
                  <a:lumMod val="40000"/>
                  <a:lumOff val="6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5" name="Rectangle 434">
            <a:extLst>
              <a:ext uri="{FF2B5EF4-FFF2-40B4-BE49-F238E27FC236}">
                <a16:creationId xmlns:a16="http://schemas.microsoft.com/office/drawing/2014/main" id="{9195C0B4-F631-4C37-BEB5-2B4CE085A8AA}"/>
              </a:ext>
            </a:extLst>
          </p:cNvPr>
          <p:cNvSpPr/>
          <p:nvPr/>
        </p:nvSpPr>
        <p:spPr>
          <a:xfrm>
            <a:off x="5980603" y="5380129"/>
            <a:ext cx="1394717" cy="662567"/>
          </a:xfrm>
          <a:prstGeom prst="rect">
            <a:avLst/>
          </a:prstGeom>
          <a:solidFill>
            <a:srgbClr val="90C8F4">
              <a:alpha val="6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6" name="Rectangle 435">
            <a:extLst>
              <a:ext uri="{FF2B5EF4-FFF2-40B4-BE49-F238E27FC236}">
                <a16:creationId xmlns:a16="http://schemas.microsoft.com/office/drawing/2014/main" id="{7CA36E0E-F00A-4A82-ADBA-3E00B7121B35}"/>
              </a:ext>
            </a:extLst>
          </p:cNvPr>
          <p:cNvSpPr/>
          <p:nvPr/>
        </p:nvSpPr>
        <p:spPr>
          <a:xfrm>
            <a:off x="5980603" y="6126167"/>
            <a:ext cx="1394717" cy="662567"/>
          </a:xfrm>
          <a:prstGeom prst="rect">
            <a:avLst/>
          </a:prstGeom>
          <a:solidFill>
            <a:srgbClr val="0071C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37" name="Rectangle 436">
            <a:extLst>
              <a:ext uri="{FF2B5EF4-FFF2-40B4-BE49-F238E27FC236}">
                <a16:creationId xmlns:a16="http://schemas.microsoft.com/office/drawing/2014/main" id="{4AFBA699-D691-4648-B4F4-76AB0B818877}"/>
              </a:ext>
            </a:extLst>
          </p:cNvPr>
          <p:cNvSpPr/>
          <p:nvPr/>
        </p:nvSpPr>
        <p:spPr>
          <a:xfrm>
            <a:off x="7493932" y="5372768"/>
            <a:ext cx="1654294" cy="1415965"/>
          </a:xfrm>
          <a:custGeom>
            <a:avLst/>
            <a:gdLst>
              <a:gd name="connsiteX0" fmla="*/ 0 w 1351104"/>
              <a:gd name="connsiteY0" fmla="*/ 0 h 1458521"/>
              <a:gd name="connsiteX1" fmla="*/ 1351104 w 1351104"/>
              <a:gd name="connsiteY1" fmla="*/ 0 h 1458521"/>
              <a:gd name="connsiteX2" fmla="*/ 1351104 w 1351104"/>
              <a:gd name="connsiteY2" fmla="*/ 1458521 h 1458521"/>
              <a:gd name="connsiteX3" fmla="*/ 0 w 1351104"/>
              <a:gd name="connsiteY3" fmla="*/ 1458521 h 1458521"/>
              <a:gd name="connsiteX4" fmla="*/ 0 w 1351104"/>
              <a:gd name="connsiteY4" fmla="*/ 0 h 1458521"/>
              <a:gd name="connsiteX0" fmla="*/ 0 w 1602564"/>
              <a:gd name="connsiteY0" fmla="*/ 7620 h 1466141"/>
              <a:gd name="connsiteX1" fmla="*/ 1602564 w 1602564"/>
              <a:gd name="connsiteY1" fmla="*/ 0 h 1466141"/>
              <a:gd name="connsiteX2" fmla="*/ 1351104 w 1602564"/>
              <a:gd name="connsiteY2" fmla="*/ 1466141 h 1466141"/>
              <a:gd name="connsiteX3" fmla="*/ 0 w 1602564"/>
              <a:gd name="connsiteY3" fmla="*/ 1466141 h 1466141"/>
              <a:gd name="connsiteX4" fmla="*/ 0 w 1602564"/>
              <a:gd name="connsiteY4" fmla="*/ 7620 h 1466141"/>
              <a:gd name="connsiteX0" fmla="*/ 0 w 1602564"/>
              <a:gd name="connsiteY0" fmla="*/ 7620 h 1473761"/>
              <a:gd name="connsiteX1" fmla="*/ 1602564 w 1602564"/>
              <a:gd name="connsiteY1" fmla="*/ 0 h 1473761"/>
              <a:gd name="connsiteX2" fmla="*/ 1046304 w 1602564"/>
              <a:gd name="connsiteY2" fmla="*/ 1473761 h 1473761"/>
              <a:gd name="connsiteX3" fmla="*/ 0 w 1602564"/>
              <a:gd name="connsiteY3" fmla="*/ 1466141 h 1473761"/>
              <a:gd name="connsiteX4" fmla="*/ 0 w 1602564"/>
              <a:gd name="connsiteY4" fmla="*/ 7620 h 1473761"/>
              <a:gd name="connsiteX0" fmla="*/ 0 w 1602564"/>
              <a:gd name="connsiteY0" fmla="*/ 7620 h 1466141"/>
              <a:gd name="connsiteX1" fmla="*/ 1602564 w 1602564"/>
              <a:gd name="connsiteY1" fmla="*/ 0 h 1466141"/>
              <a:gd name="connsiteX2" fmla="*/ 1000584 w 1602564"/>
              <a:gd name="connsiteY2" fmla="*/ 1466141 h 1466141"/>
              <a:gd name="connsiteX3" fmla="*/ 0 w 1602564"/>
              <a:gd name="connsiteY3" fmla="*/ 1466141 h 1466141"/>
              <a:gd name="connsiteX4" fmla="*/ 0 w 1602564"/>
              <a:gd name="connsiteY4" fmla="*/ 7620 h 1466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2564" h="1466141">
                <a:moveTo>
                  <a:pt x="0" y="7620"/>
                </a:moveTo>
                <a:lnTo>
                  <a:pt x="1602564" y="0"/>
                </a:lnTo>
                <a:lnTo>
                  <a:pt x="1000584" y="1466141"/>
                </a:lnTo>
                <a:lnTo>
                  <a:pt x="0" y="1466141"/>
                </a:lnTo>
                <a:lnTo>
                  <a:pt x="0" y="7620"/>
                </a:lnTo>
                <a:close/>
              </a:path>
            </a:pathLst>
          </a:custGeom>
          <a:solidFill>
            <a:srgbClr val="0072C1">
              <a:alpha val="8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3" name="Group 552">
            <a:extLst>
              <a:ext uri="{FF2B5EF4-FFF2-40B4-BE49-F238E27FC236}">
                <a16:creationId xmlns:a16="http://schemas.microsoft.com/office/drawing/2014/main" id="{B4FB0A0A-AC48-4140-894F-7123B721D195}"/>
              </a:ext>
            </a:extLst>
          </p:cNvPr>
          <p:cNvGrpSpPr/>
          <p:nvPr/>
        </p:nvGrpSpPr>
        <p:grpSpPr>
          <a:xfrm>
            <a:off x="1951736" y="5382841"/>
            <a:ext cx="892066" cy="657751"/>
            <a:chOff x="1340380" y="5338735"/>
            <a:chExt cx="954583" cy="732932"/>
          </a:xfrm>
        </p:grpSpPr>
        <p:sp>
          <p:nvSpPr>
            <p:cNvPr id="447" name="Freeform 111">
              <a:extLst>
                <a:ext uri="{FF2B5EF4-FFF2-40B4-BE49-F238E27FC236}">
                  <a16:creationId xmlns:a16="http://schemas.microsoft.com/office/drawing/2014/main" id="{9A684C87-37D7-421D-BB64-5A4DE23CAD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0380" y="5338735"/>
              <a:ext cx="954583" cy="732932"/>
            </a:xfrm>
            <a:custGeom>
              <a:avLst/>
              <a:gdLst>
                <a:gd name="T0" fmla="*/ 1524 w 3812"/>
                <a:gd name="T1" fmla="*/ 4200 h 4200"/>
                <a:gd name="T2" fmla="*/ 1524 w 3812"/>
                <a:gd name="T3" fmla="*/ 3572 h 4200"/>
                <a:gd name="T4" fmla="*/ 2288 w 3812"/>
                <a:gd name="T5" fmla="*/ 3572 h 4200"/>
                <a:gd name="T6" fmla="*/ 2288 w 3812"/>
                <a:gd name="T7" fmla="*/ 4200 h 4200"/>
                <a:gd name="T8" fmla="*/ 3240 w 3812"/>
                <a:gd name="T9" fmla="*/ 4200 h 4200"/>
                <a:gd name="T10" fmla="*/ 3240 w 3812"/>
                <a:gd name="T11" fmla="*/ 2223 h 4200"/>
                <a:gd name="T12" fmla="*/ 3812 w 3812"/>
                <a:gd name="T13" fmla="*/ 2223 h 4200"/>
                <a:gd name="T14" fmla="*/ 1905 w 3812"/>
                <a:gd name="T15" fmla="*/ 0 h 4200"/>
                <a:gd name="T16" fmla="*/ 0 w 3812"/>
                <a:gd name="T17" fmla="*/ 2223 h 4200"/>
                <a:gd name="T18" fmla="*/ 571 w 3812"/>
                <a:gd name="T19" fmla="*/ 2223 h 4200"/>
                <a:gd name="T20" fmla="*/ 571 w 3812"/>
                <a:gd name="T21" fmla="*/ 4200 h 4200"/>
                <a:gd name="T22" fmla="*/ 1524 w 3812"/>
                <a:gd name="T23" fmla="*/ 4200 h 4200"/>
                <a:gd name="T24" fmla="*/ 1524 w 3812"/>
                <a:gd name="T25" fmla="*/ 4200 h 4200"/>
                <a:gd name="T26" fmla="*/ 1524 w 3812"/>
                <a:gd name="T27" fmla="*/ 4200 h 4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12" h="4200">
                  <a:moveTo>
                    <a:pt x="1524" y="4200"/>
                  </a:moveTo>
                  <a:lnTo>
                    <a:pt x="1524" y="3572"/>
                  </a:lnTo>
                  <a:lnTo>
                    <a:pt x="2288" y="3572"/>
                  </a:lnTo>
                  <a:lnTo>
                    <a:pt x="2288" y="4200"/>
                  </a:lnTo>
                  <a:lnTo>
                    <a:pt x="3240" y="4200"/>
                  </a:lnTo>
                  <a:lnTo>
                    <a:pt x="3240" y="2223"/>
                  </a:lnTo>
                  <a:lnTo>
                    <a:pt x="3812" y="2223"/>
                  </a:lnTo>
                  <a:lnTo>
                    <a:pt x="1905" y="0"/>
                  </a:lnTo>
                  <a:lnTo>
                    <a:pt x="0" y="2223"/>
                  </a:lnTo>
                  <a:lnTo>
                    <a:pt x="571" y="2223"/>
                  </a:lnTo>
                  <a:lnTo>
                    <a:pt x="571" y="4200"/>
                  </a:lnTo>
                  <a:lnTo>
                    <a:pt x="1524" y="4200"/>
                  </a:lnTo>
                  <a:close/>
                  <a:moveTo>
                    <a:pt x="1524" y="4200"/>
                  </a:moveTo>
                  <a:lnTo>
                    <a:pt x="1524" y="420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49" name="TextBox 448">
              <a:extLst>
                <a:ext uri="{FF2B5EF4-FFF2-40B4-BE49-F238E27FC236}">
                  <a16:creationId xmlns:a16="http://schemas.microsoft.com/office/drawing/2014/main" id="{6FCA2BF0-1614-414C-9BE3-7D0910190497}"/>
                </a:ext>
              </a:extLst>
            </p:cNvPr>
            <p:cNvSpPr txBox="1"/>
            <p:nvPr/>
          </p:nvSpPr>
          <p:spPr>
            <a:xfrm>
              <a:off x="1702711" y="5415760"/>
              <a:ext cx="240937" cy="2057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Online shoppers </a:t>
              </a:r>
            </a:p>
            <a:p>
              <a:pPr algn="ctr"/>
              <a:r>
                <a:rPr lang="en-US" sz="400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refer</a:t>
              </a:r>
            </a:p>
          </p:txBody>
        </p:sp>
        <p:sp>
          <p:nvSpPr>
            <p:cNvPr id="450" name="TextBox 449">
              <a:extLst>
                <a:ext uri="{FF2B5EF4-FFF2-40B4-BE49-F238E27FC236}">
                  <a16:creationId xmlns:a16="http://schemas.microsoft.com/office/drawing/2014/main" id="{120E6A67-FE7B-4CA8-96E2-BD8BD5AE3B35}"/>
                </a:ext>
              </a:extLst>
            </p:cNvPr>
            <p:cNvSpPr txBox="1"/>
            <p:nvPr/>
          </p:nvSpPr>
          <p:spPr>
            <a:xfrm>
              <a:off x="1606704" y="5629042"/>
              <a:ext cx="418677" cy="12003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7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1 in 4</a:t>
              </a:r>
            </a:p>
          </p:txBody>
        </p:sp>
        <p:sp>
          <p:nvSpPr>
            <p:cNvPr id="451" name="TextBox 450">
              <a:extLst>
                <a:ext uri="{FF2B5EF4-FFF2-40B4-BE49-F238E27FC236}">
                  <a16:creationId xmlns:a16="http://schemas.microsoft.com/office/drawing/2014/main" id="{B8A34517-82B3-4D63-935C-D14C9EE5C0CC}"/>
                </a:ext>
              </a:extLst>
            </p:cNvPr>
            <p:cNvSpPr txBox="1"/>
            <p:nvPr/>
          </p:nvSpPr>
          <p:spPr>
            <a:xfrm>
              <a:off x="1509117" y="5742030"/>
              <a:ext cx="614959" cy="2057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400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Packages delivered to locations other than their home</a:t>
              </a:r>
            </a:p>
          </p:txBody>
        </p:sp>
      </p:grpSp>
      <p:pic>
        <p:nvPicPr>
          <p:cNvPr id="453" name="Picture 452">
            <a:extLst>
              <a:ext uri="{FF2B5EF4-FFF2-40B4-BE49-F238E27FC236}">
                <a16:creationId xmlns:a16="http://schemas.microsoft.com/office/drawing/2014/main" id="{82DE83F2-94BA-49CA-BE55-DA96AB9976A6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1523" y="5547804"/>
            <a:ext cx="473405" cy="477333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455" name="Rectangle 454">
            <a:extLst>
              <a:ext uri="{FF2B5EF4-FFF2-40B4-BE49-F238E27FC236}">
                <a16:creationId xmlns:a16="http://schemas.microsoft.com/office/drawing/2014/main" id="{F6A18394-4542-490B-8508-8EC4DD90A251}"/>
              </a:ext>
            </a:extLst>
          </p:cNvPr>
          <p:cNvSpPr/>
          <p:nvPr/>
        </p:nvSpPr>
        <p:spPr>
          <a:xfrm>
            <a:off x="4546741" y="5517851"/>
            <a:ext cx="333311" cy="27161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4" name="Rectangle 453">
            <a:extLst>
              <a:ext uri="{FF2B5EF4-FFF2-40B4-BE49-F238E27FC236}">
                <a16:creationId xmlns:a16="http://schemas.microsoft.com/office/drawing/2014/main" id="{EA12E863-7631-4D79-A4A7-6C062734BEFF}"/>
              </a:ext>
            </a:extLst>
          </p:cNvPr>
          <p:cNvSpPr/>
          <p:nvPr/>
        </p:nvSpPr>
        <p:spPr>
          <a:xfrm>
            <a:off x="4559155" y="5429259"/>
            <a:ext cx="473579" cy="570650"/>
          </a:xfrm>
          <a:prstGeom prst="rect">
            <a:avLst/>
          </a:prstGeom>
          <a:noFill/>
          <a:ln w="254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6" name="Rectangle 455">
            <a:extLst>
              <a:ext uri="{FF2B5EF4-FFF2-40B4-BE49-F238E27FC236}">
                <a16:creationId xmlns:a16="http://schemas.microsoft.com/office/drawing/2014/main" id="{C1CB0316-0CE8-4BF4-BE6B-4959B51735DF}"/>
              </a:ext>
            </a:extLst>
          </p:cNvPr>
          <p:cNvSpPr/>
          <p:nvPr/>
        </p:nvSpPr>
        <p:spPr>
          <a:xfrm>
            <a:off x="4672025" y="5584880"/>
            <a:ext cx="255069" cy="242063"/>
          </a:xfrm>
          <a:prstGeom prst="rect">
            <a:avLst/>
          </a:prstGeom>
          <a:solidFill>
            <a:srgbClr val="0CB3F0">
              <a:alpha val="88000"/>
            </a:srgb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</a:t>
            </a:r>
          </a:p>
        </p:txBody>
      </p:sp>
      <p:sp>
        <p:nvSpPr>
          <p:cNvPr id="457" name="TextBox 456">
            <a:extLst>
              <a:ext uri="{FF2B5EF4-FFF2-40B4-BE49-F238E27FC236}">
                <a16:creationId xmlns:a16="http://schemas.microsoft.com/office/drawing/2014/main" id="{8FD8B9E6-6582-4764-AA08-CBDCE3FE17EF}"/>
              </a:ext>
            </a:extLst>
          </p:cNvPr>
          <p:cNvSpPr txBox="1"/>
          <p:nvPr/>
        </p:nvSpPr>
        <p:spPr>
          <a:xfrm>
            <a:off x="5121668" y="5439057"/>
            <a:ext cx="598249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LF</a:t>
            </a:r>
            <a:r>
              <a:rPr lang="en-US" sz="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consumers</a:t>
            </a:r>
          </a:p>
          <a:p>
            <a:r>
              <a:rPr lang="en-US" sz="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purchased additional items from a retailer based on </a:t>
            </a:r>
            <a:r>
              <a:rPr lang="en-US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PONS or SAMPLES </a:t>
            </a:r>
            <a:r>
              <a:rPr lang="en-US" sz="5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luded in the delivery</a:t>
            </a:r>
          </a:p>
        </p:txBody>
      </p:sp>
      <p:sp>
        <p:nvSpPr>
          <p:cNvPr id="467" name="Rectangle 466">
            <a:extLst>
              <a:ext uri="{FF2B5EF4-FFF2-40B4-BE49-F238E27FC236}">
                <a16:creationId xmlns:a16="http://schemas.microsoft.com/office/drawing/2014/main" id="{3FF7F0B6-0617-47E2-B758-5154A57854C6}"/>
              </a:ext>
            </a:extLst>
          </p:cNvPr>
          <p:cNvSpPr/>
          <p:nvPr/>
        </p:nvSpPr>
        <p:spPr>
          <a:xfrm>
            <a:off x="4259078" y="6126167"/>
            <a:ext cx="1578581" cy="662567"/>
          </a:xfrm>
          <a:prstGeom prst="rect">
            <a:avLst/>
          </a:prstGeom>
          <a:solidFill>
            <a:srgbClr val="0072C1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8" name="Rectangle 457">
            <a:extLst>
              <a:ext uri="{FF2B5EF4-FFF2-40B4-BE49-F238E27FC236}">
                <a16:creationId xmlns:a16="http://schemas.microsoft.com/office/drawing/2014/main" id="{E70EDC71-27A9-483C-80B4-57A29AD7F3AB}"/>
              </a:ext>
            </a:extLst>
          </p:cNvPr>
          <p:cNvSpPr/>
          <p:nvPr/>
        </p:nvSpPr>
        <p:spPr>
          <a:xfrm>
            <a:off x="5980603" y="5380129"/>
            <a:ext cx="659297" cy="662567"/>
          </a:xfrm>
          <a:prstGeom prst="rect">
            <a:avLst/>
          </a:prstGeom>
          <a:solidFill>
            <a:srgbClr val="0CB3F0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59" name="TextBox 458">
            <a:extLst>
              <a:ext uri="{FF2B5EF4-FFF2-40B4-BE49-F238E27FC236}">
                <a16:creationId xmlns:a16="http://schemas.microsoft.com/office/drawing/2014/main" id="{3A6F8095-7D80-43EB-A311-DAAEA03EFB8C}"/>
              </a:ext>
            </a:extLst>
          </p:cNvPr>
          <p:cNvSpPr txBox="1"/>
          <p:nvPr/>
        </p:nvSpPr>
        <p:spPr>
          <a:xfrm>
            <a:off x="5998609" y="5488480"/>
            <a:ext cx="62328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LY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8%</a:t>
            </a:r>
          </a:p>
        </p:txBody>
      </p:sp>
      <p:sp>
        <p:nvSpPr>
          <p:cNvPr id="466" name="Freeform: Shape 465">
            <a:extLst>
              <a:ext uri="{FF2B5EF4-FFF2-40B4-BE49-F238E27FC236}">
                <a16:creationId xmlns:a16="http://schemas.microsoft.com/office/drawing/2014/main" id="{F1C830BC-9F29-4F20-8BB4-FBC8E48D22B3}"/>
              </a:ext>
            </a:extLst>
          </p:cNvPr>
          <p:cNvSpPr/>
          <p:nvPr/>
        </p:nvSpPr>
        <p:spPr>
          <a:xfrm>
            <a:off x="5203534" y="6126167"/>
            <a:ext cx="634126" cy="662567"/>
          </a:xfrm>
          <a:custGeom>
            <a:avLst/>
            <a:gdLst>
              <a:gd name="connsiteX0" fmla="*/ 210863 w 614297"/>
              <a:gd name="connsiteY0" fmla="*/ 0 h 686046"/>
              <a:gd name="connsiteX1" fmla="*/ 571799 w 614297"/>
              <a:gd name="connsiteY1" fmla="*/ 0 h 686046"/>
              <a:gd name="connsiteX2" fmla="*/ 610128 w 614297"/>
              <a:gd name="connsiteY2" fmla="*/ 20804 h 686046"/>
              <a:gd name="connsiteX3" fmla="*/ 614297 w 614297"/>
              <a:gd name="connsiteY3" fmla="*/ 24244 h 686046"/>
              <a:gd name="connsiteX4" fmla="*/ 614297 w 614297"/>
              <a:gd name="connsiteY4" fmla="*/ 666360 h 686046"/>
              <a:gd name="connsiteX5" fmla="*/ 610128 w 614297"/>
              <a:gd name="connsiteY5" fmla="*/ 669800 h 686046"/>
              <a:gd name="connsiteX6" fmla="*/ 580197 w 614297"/>
              <a:gd name="connsiteY6" fmla="*/ 686046 h 686046"/>
              <a:gd name="connsiteX7" fmla="*/ 202466 w 614297"/>
              <a:gd name="connsiteY7" fmla="*/ 686046 h 686046"/>
              <a:gd name="connsiteX8" fmla="*/ 172534 w 614297"/>
              <a:gd name="connsiteY8" fmla="*/ 669800 h 686046"/>
              <a:gd name="connsiteX9" fmla="*/ 0 w 614297"/>
              <a:gd name="connsiteY9" fmla="*/ 345302 h 686046"/>
              <a:gd name="connsiteX10" fmla="*/ 172534 w 614297"/>
              <a:gd name="connsiteY10" fmla="*/ 20804 h 686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14297" h="686046">
                <a:moveTo>
                  <a:pt x="210863" y="0"/>
                </a:moveTo>
                <a:lnTo>
                  <a:pt x="571799" y="0"/>
                </a:lnTo>
                <a:lnTo>
                  <a:pt x="610128" y="20804"/>
                </a:lnTo>
                <a:lnTo>
                  <a:pt x="614297" y="24244"/>
                </a:lnTo>
                <a:lnTo>
                  <a:pt x="614297" y="666360"/>
                </a:lnTo>
                <a:lnTo>
                  <a:pt x="610128" y="669800"/>
                </a:lnTo>
                <a:lnTo>
                  <a:pt x="580197" y="686046"/>
                </a:lnTo>
                <a:lnTo>
                  <a:pt x="202466" y="686046"/>
                </a:lnTo>
                <a:lnTo>
                  <a:pt x="172534" y="669800"/>
                </a:lnTo>
                <a:cubicBezTo>
                  <a:pt x="68440" y="599475"/>
                  <a:pt x="0" y="480381"/>
                  <a:pt x="0" y="345302"/>
                </a:cubicBezTo>
                <a:cubicBezTo>
                  <a:pt x="0" y="210224"/>
                  <a:pt x="68440" y="91130"/>
                  <a:pt x="172534" y="20804"/>
                </a:cubicBezTo>
                <a:close/>
              </a:path>
            </a:pathLst>
          </a:custGeom>
          <a:solidFill>
            <a:srgbClr val="0CB3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0" name="TextBox 459">
            <a:extLst>
              <a:ext uri="{FF2B5EF4-FFF2-40B4-BE49-F238E27FC236}">
                <a16:creationId xmlns:a16="http://schemas.microsoft.com/office/drawing/2014/main" id="{6BAB810B-8103-46C2-959D-6C269DD1F6CE}"/>
              </a:ext>
            </a:extLst>
          </p:cNvPr>
          <p:cNvSpPr txBox="1"/>
          <p:nvPr/>
        </p:nvSpPr>
        <p:spPr>
          <a:xfrm>
            <a:off x="6693395" y="5458766"/>
            <a:ext cx="627646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 satisfied with Ease of making online returns/ exchanges</a:t>
            </a:r>
          </a:p>
        </p:txBody>
      </p:sp>
      <p:sp>
        <p:nvSpPr>
          <p:cNvPr id="464" name="Freeform 118">
            <a:extLst>
              <a:ext uri="{FF2B5EF4-FFF2-40B4-BE49-F238E27FC236}">
                <a16:creationId xmlns:a16="http://schemas.microsoft.com/office/drawing/2014/main" id="{F46CB007-64DC-4BE6-9F7C-BEDF9E825FF9}"/>
              </a:ext>
            </a:extLst>
          </p:cNvPr>
          <p:cNvSpPr>
            <a:spLocks noEditPoints="1"/>
          </p:cNvSpPr>
          <p:nvPr/>
        </p:nvSpPr>
        <p:spPr bwMode="auto">
          <a:xfrm rot="21097212">
            <a:off x="5347278" y="6181475"/>
            <a:ext cx="434262" cy="540485"/>
          </a:xfrm>
          <a:custGeom>
            <a:avLst/>
            <a:gdLst>
              <a:gd name="T0" fmla="*/ 1493 w 1536"/>
              <a:gd name="T1" fmla="*/ 768 h 2048"/>
              <a:gd name="T2" fmla="*/ 1365 w 1536"/>
              <a:gd name="T3" fmla="*/ 768 h 2048"/>
              <a:gd name="T4" fmla="*/ 1365 w 1536"/>
              <a:gd name="T5" fmla="*/ 597 h 2048"/>
              <a:gd name="T6" fmla="*/ 768 w 1536"/>
              <a:gd name="T7" fmla="*/ 0 h 2048"/>
              <a:gd name="T8" fmla="*/ 171 w 1536"/>
              <a:gd name="T9" fmla="*/ 597 h 2048"/>
              <a:gd name="T10" fmla="*/ 171 w 1536"/>
              <a:gd name="T11" fmla="*/ 768 h 2048"/>
              <a:gd name="T12" fmla="*/ 43 w 1536"/>
              <a:gd name="T13" fmla="*/ 768 h 2048"/>
              <a:gd name="T14" fmla="*/ 0 w 1536"/>
              <a:gd name="T15" fmla="*/ 811 h 2048"/>
              <a:gd name="T16" fmla="*/ 0 w 1536"/>
              <a:gd name="T17" fmla="*/ 1877 h 2048"/>
              <a:gd name="T18" fmla="*/ 171 w 1536"/>
              <a:gd name="T19" fmla="*/ 2048 h 2048"/>
              <a:gd name="T20" fmla="*/ 1365 w 1536"/>
              <a:gd name="T21" fmla="*/ 2048 h 2048"/>
              <a:gd name="T22" fmla="*/ 1536 w 1536"/>
              <a:gd name="T23" fmla="*/ 1877 h 2048"/>
              <a:gd name="T24" fmla="*/ 1536 w 1536"/>
              <a:gd name="T25" fmla="*/ 811 h 2048"/>
              <a:gd name="T26" fmla="*/ 1493 w 1536"/>
              <a:gd name="T27" fmla="*/ 768 h 2048"/>
              <a:gd name="T28" fmla="*/ 869 w 1536"/>
              <a:gd name="T29" fmla="*/ 1417 h 2048"/>
              <a:gd name="T30" fmla="*/ 896 w 1536"/>
              <a:gd name="T31" fmla="*/ 1659 h 2048"/>
              <a:gd name="T32" fmla="*/ 885 w 1536"/>
              <a:gd name="T33" fmla="*/ 1692 h 2048"/>
              <a:gd name="T34" fmla="*/ 853 w 1536"/>
              <a:gd name="T35" fmla="*/ 1707 h 2048"/>
              <a:gd name="T36" fmla="*/ 683 w 1536"/>
              <a:gd name="T37" fmla="*/ 1707 h 2048"/>
              <a:gd name="T38" fmla="*/ 651 w 1536"/>
              <a:gd name="T39" fmla="*/ 1692 h 2048"/>
              <a:gd name="T40" fmla="*/ 640 w 1536"/>
              <a:gd name="T41" fmla="*/ 1659 h 2048"/>
              <a:gd name="T42" fmla="*/ 667 w 1536"/>
              <a:gd name="T43" fmla="*/ 1417 h 2048"/>
              <a:gd name="T44" fmla="*/ 597 w 1536"/>
              <a:gd name="T45" fmla="*/ 1280 h 2048"/>
              <a:gd name="T46" fmla="*/ 768 w 1536"/>
              <a:gd name="T47" fmla="*/ 1109 h 2048"/>
              <a:gd name="T48" fmla="*/ 939 w 1536"/>
              <a:gd name="T49" fmla="*/ 1280 h 2048"/>
              <a:gd name="T50" fmla="*/ 869 w 1536"/>
              <a:gd name="T51" fmla="*/ 1417 h 2048"/>
              <a:gd name="T52" fmla="*/ 1109 w 1536"/>
              <a:gd name="T53" fmla="*/ 768 h 2048"/>
              <a:gd name="T54" fmla="*/ 427 w 1536"/>
              <a:gd name="T55" fmla="*/ 768 h 2048"/>
              <a:gd name="T56" fmla="*/ 427 w 1536"/>
              <a:gd name="T57" fmla="*/ 597 h 2048"/>
              <a:gd name="T58" fmla="*/ 768 w 1536"/>
              <a:gd name="T59" fmla="*/ 256 h 2048"/>
              <a:gd name="T60" fmla="*/ 1109 w 1536"/>
              <a:gd name="T61" fmla="*/ 597 h 2048"/>
              <a:gd name="T62" fmla="*/ 1109 w 1536"/>
              <a:gd name="T63" fmla="*/ 768 h 2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536" h="2048">
                <a:moveTo>
                  <a:pt x="1493" y="768"/>
                </a:moveTo>
                <a:cubicBezTo>
                  <a:pt x="1365" y="768"/>
                  <a:pt x="1365" y="768"/>
                  <a:pt x="1365" y="768"/>
                </a:cubicBezTo>
                <a:cubicBezTo>
                  <a:pt x="1365" y="597"/>
                  <a:pt x="1365" y="597"/>
                  <a:pt x="1365" y="597"/>
                </a:cubicBezTo>
                <a:cubicBezTo>
                  <a:pt x="1365" y="268"/>
                  <a:pt x="1097" y="0"/>
                  <a:pt x="768" y="0"/>
                </a:cubicBezTo>
                <a:cubicBezTo>
                  <a:pt x="439" y="0"/>
                  <a:pt x="171" y="268"/>
                  <a:pt x="171" y="597"/>
                </a:cubicBezTo>
                <a:cubicBezTo>
                  <a:pt x="171" y="768"/>
                  <a:pt x="171" y="768"/>
                  <a:pt x="171" y="768"/>
                </a:cubicBezTo>
                <a:cubicBezTo>
                  <a:pt x="43" y="768"/>
                  <a:pt x="43" y="768"/>
                  <a:pt x="43" y="768"/>
                </a:cubicBezTo>
                <a:cubicBezTo>
                  <a:pt x="19" y="768"/>
                  <a:pt x="0" y="787"/>
                  <a:pt x="0" y="811"/>
                </a:cubicBezTo>
                <a:cubicBezTo>
                  <a:pt x="0" y="1877"/>
                  <a:pt x="0" y="1877"/>
                  <a:pt x="0" y="1877"/>
                </a:cubicBezTo>
                <a:cubicBezTo>
                  <a:pt x="0" y="1971"/>
                  <a:pt x="77" y="2048"/>
                  <a:pt x="171" y="2048"/>
                </a:cubicBezTo>
                <a:cubicBezTo>
                  <a:pt x="1365" y="2048"/>
                  <a:pt x="1365" y="2048"/>
                  <a:pt x="1365" y="2048"/>
                </a:cubicBezTo>
                <a:cubicBezTo>
                  <a:pt x="1459" y="2048"/>
                  <a:pt x="1536" y="1971"/>
                  <a:pt x="1536" y="1877"/>
                </a:cubicBezTo>
                <a:cubicBezTo>
                  <a:pt x="1536" y="811"/>
                  <a:pt x="1536" y="811"/>
                  <a:pt x="1536" y="811"/>
                </a:cubicBezTo>
                <a:cubicBezTo>
                  <a:pt x="1536" y="787"/>
                  <a:pt x="1517" y="768"/>
                  <a:pt x="1493" y="768"/>
                </a:cubicBezTo>
                <a:close/>
                <a:moveTo>
                  <a:pt x="869" y="1417"/>
                </a:moveTo>
                <a:cubicBezTo>
                  <a:pt x="896" y="1659"/>
                  <a:pt x="896" y="1659"/>
                  <a:pt x="896" y="1659"/>
                </a:cubicBezTo>
                <a:cubicBezTo>
                  <a:pt x="897" y="1671"/>
                  <a:pt x="893" y="1683"/>
                  <a:pt x="885" y="1692"/>
                </a:cubicBezTo>
                <a:cubicBezTo>
                  <a:pt x="877" y="1702"/>
                  <a:pt x="865" y="1707"/>
                  <a:pt x="853" y="1707"/>
                </a:cubicBezTo>
                <a:cubicBezTo>
                  <a:pt x="683" y="1707"/>
                  <a:pt x="683" y="1707"/>
                  <a:pt x="683" y="1707"/>
                </a:cubicBezTo>
                <a:cubicBezTo>
                  <a:pt x="671" y="1707"/>
                  <a:pt x="659" y="1702"/>
                  <a:pt x="651" y="1692"/>
                </a:cubicBezTo>
                <a:cubicBezTo>
                  <a:pt x="643" y="1683"/>
                  <a:pt x="639" y="1671"/>
                  <a:pt x="640" y="1659"/>
                </a:cubicBezTo>
                <a:cubicBezTo>
                  <a:pt x="667" y="1417"/>
                  <a:pt x="667" y="1417"/>
                  <a:pt x="667" y="1417"/>
                </a:cubicBezTo>
                <a:cubicBezTo>
                  <a:pt x="623" y="1385"/>
                  <a:pt x="597" y="1335"/>
                  <a:pt x="597" y="1280"/>
                </a:cubicBezTo>
                <a:cubicBezTo>
                  <a:pt x="597" y="1186"/>
                  <a:pt x="674" y="1109"/>
                  <a:pt x="768" y="1109"/>
                </a:cubicBezTo>
                <a:cubicBezTo>
                  <a:pt x="862" y="1109"/>
                  <a:pt x="939" y="1186"/>
                  <a:pt x="939" y="1280"/>
                </a:cubicBezTo>
                <a:cubicBezTo>
                  <a:pt x="939" y="1335"/>
                  <a:pt x="913" y="1385"/>
                  <a:pt x="869" y="1417"/>
                </a:cubicBezTo>
                <a:close/>
                <a:moveTo>
                  <a:pt x="1109" y="768"/>
                </a:moveTo>
                <a:cubicBezTo>
                  <a:pt x="427" y="768"/>
                  <a:pt x="427" y="768"/>
                  <a:pt x="427" y="768"/>
                </a:cubicBezTo>
                <a:cubicBezTo>
                  <a:pt x="427" y="597"/>
                  <a:pt x="427" y="597"/>
                  <a:pt x="427" y="597"/>
                </a:cubicBezTo>
                <a:cubicBezTo>
                  <a:pt x="427" y="409"/>
                  <a:pt x="580" y="256"/>
                  <a:pt x="768" y="256"/>
                </a:cubicBezTo>
                <a:cubicBezTo>
                  <a:pt x="956" y="256"/>
                  <a:pt x="1109" y="409"/>
                  <a:pt x="1109" y="597"/>
                </a:cubicBezTo>
                <a:lnTo>
                  <a:pt x="1109" y="7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8" name="TextBox 467">
            <a:extLst>
              <a:ext uri="{FF2B5EF4-FFF2-40B4-BE49-F238E27FC236}">
                <a16:creationId xmlns:a16="http://schemas.microsoft.com/office/drawing/2014/main" id="{3296C443-6D14-47ED-8C86-47FCD25076A3}"/>
              </a:ext>
            </a:extLst>
          </p:cNvPr>
          <p:cNvSpPr txBox="1"/>
          <p:nvPr/>
        </p:nvSpPr>
        <p:spPr>
          <a:xfrm>
            <a:off x="4305028" y="6206174"/>
            <a:ext cx="79140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pite recent security issues,</a:t>
            </a:r>
          </a:p>
          <a:p>
            <a: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re </a:t>
            </a:r>
            <a:r>
              <a:rPr lang="en-US" sz="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INED</a:t>
            </a:r>
            <a: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rust (</a:t>
            </a:r>
            <a:r>
              <a:rPr lang="en-US" sz="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) than </a:t>
            </a:r>
            <a:r>
              <a:rPr lang="en-US" sz="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ST</a:t>
            </a:r>
            <a: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rust (</a:t>
            </a:r>
            <a:r>
              <a:rPr lang="en-US" sz="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3</a:t>
            </a:r>
            <a: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) in online shopping last year</a:t>
            </a:r>
          </a:p>
        </p:txBody>
      </p:sp>
      <p:sp>
        <p:nvSpPr>
          <p:cNvPr id="474" name="Freeform 123">
            <a:extLst>
              <a:ext uri="{FF2B5EF4-FFF2-40B4-BE49-F238E27FC236}">
                <a16:creationId xmlns:a16="http://schemas.microsoft.com/office/drawing/2014/main" id="{82AFE5E6-6F83-41C7-A43E-9887EB225930}"/>
              </a:ext>
            </a:extLst>
          </p:cNvPr>
          <p:cNvSpPr>
            <a:spLocks/>
          </p:cNvSpPr>
          <p:nvPr/>
        </p:nvSpPr>
        <p:spPr bwMode="auto">
          <a:xfrm>
            <a:off x="6408624" y="6499237"/>
            <a:ext cx="101594" cy="242167"/>
          </a:xfrm>
          <a:custGeom>
            <a:avLst/>
            <a:gdLst>
              <a:gd name="T0" fmla="*/ 0 w 502"/>
              <a:gd name="T1" fmla="*/ 0 h 1279"/>
              <a:gd name="T2" fmla="*/ 0 w 502"/>
              <a:gd name="T3" fmla="*/ 1279 h 1279"/>
              <a:gd name="T4" fmla="*/ 502 w 502"/>
              <a:gd name="T5" fmla="*/ 833 h 1279"/>
              <a:gd name="T6" fmla="*/ 502 w 502"/>
              <a:gd name="T7" fmla="*/ 196 h 1279"/>
              <a:gd name="T8" fmla="*/ 297 w 502"/>
              <a:gd name="T9" fmla="*/ 404 h 1279"/>
              <a:gd name="T10" fmla="*/ 0 w 502"/>
              <a:gd name="T11" fmla="*/ 0 h 1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02" h="1279">
                <a:moveTo>
                  <a:pt x="0" y="0"/>
                </a:moveTo>
                <a:lnTo>
                  <a:pt x="0" y="1279"/>
                </a:lnTo>
                <a:lnTo>
                  <a:pt x="502" y="833"/>
                </a:lnTo>
                <a:lnTo>
                  <a:pt x="502" y="196"/>
                </a:lnTo>
                <a:lnTo>
                  <a:pt x="297" y="40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5" name="Freeform 124">
            <a:extLst>
              <a:ext uri="{FF2B5EF4-FFF2-40B4-BE49-F238E27FC236}">
                <a16:creationId xmlns:a16="http://schemas.microsoft.com/office/drawing/2014/main" id="{7DC28FAA-BDED-45B1-B969-18FAF3A6377D}"/>
              </a:ext>
            </a:extLst>
          </p:cNvPr>
          <p:cNvSpPr>
            <a:spLocks/>
          </p:cNvSpPr>
          <p:nvPr/>
        </p:nvSpPr>
        <p:spPr bwMode="auto">
          <a:xfrm>
            <a:off x="6131568" y="6398508"/>
            <a:ext cx="361246" cy="78577"/>
          </a:xfrm>
          <a:custGeom>
            <a:avLst/>
            <a:gdLst>
              <a:gd name="T0" fmla="*/ 516 w 1785"/>
              <a:gd name="T1" fmla="*/ 0 h 415"/>
              <a:gd name="T2" fmla="*/ 0 w 1785"/>
              <a:gd name="T3" fmla="*/ 415 h 415"/>
              <a:gd name="T4" fmla="*/ 1331 w 1785"/>
              <a:gd name="T5" fmla="*/ 415 h 415"/>
              <a:gd name="T6" fmla="*/ 1785 w 1785"/>
              <a:gd name="T7" fmla="*/ 0 h 415"/>
              <a:gd name="T8" fmla="*/ 516 w 1785"/>
              <a:gd name="T9" fmla="*/ 0 h 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85" h="415">
                <a:moveTo>
                  <a:pt x="516" y="0"/>
                </a:moveTo>
                <a:lnTo>
                  <a:pt x="0" y="415"/>
                </a:lnTo>
                <a:lnTo>
                  <a:pt x="1331" y="415"/>
                </a:lnTo>
                <a:lnTo>
                  <a:pt x="1785" y="0"/>
                </a:lnTo>
                <a:lnTo>
                  <a:pt x="516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6" name="Rectangle 125">
            <a:extLst>
              <a:ext uri="{FF2B5EF4-FFF2-40B4-BE49-F238E27FC236}">
                <a16:creationId xmlns:a16="http://schemas.microsoft.com/office/drawing/2014/main" id="{E45B26C0-18B1-4178-A1D7-1E2C45D9EE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1305" y="6524420"/>
            <a:ext cx="100178" cy="1041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7" name="Freeform 126">
            <a:extLst>
              <a:ext uri="{FF2B5EF4-FFF2-40B4-BE49-F238E27FC236}">
                <a16:creationId xmlns:a16="http://schemas.microsoft.com/office/drawing/2014/main" id="{EC24446C-9FBB-46E4-A8D9-B3B2E5309685}"/>
              </a:ext>
            </a:extLst>
          </p:cNvPr>
          <p:cNvSpPr>
            <a:spLocks noEditPoints="1"/>
          </p:cNvSpPr>
          <p:nvPr/>
        </p:nvSpPr>
        <p:spPr bwMode="auto">
          <a:xfrm>
            <a:off x="6085830" y="6387526"/>
            <a:ext cx="498864" cy="368458"/>
          </a:xfrm>
          <a:custGeom>
            <a:avLst/>
            <a:gdLst>
              <a:gd name="T0" fmla="*/ 2154 w 2465"/>
              <a:gd name="T1" fmla="*/ 2 h 1946"/>
              <a:gd name="T2" fmla="*/ 2153 w 2465"/>
              <a:gd name="T3" fmla="*/ 2 h 1946"/>
              <a:gd name="T4" fmla="*/ 2152 w 2465"/>
              <a:gd name="T5" fmla="*/ 0 h 1946"/>
              <a:gd name="T6" fmla="*/ 2149 w 2465"/>
              <a:gd name="T7" fmla="*/ 2 h 1946"/>
              <a:gd name="T8" fmla="*/ 721 w 2465"/>
              <a:gd name="T9" fmla="*/ 2 h 1946"/>
              <a:gd name="T10" fmla="*/ 120 w 2465"/>
              <a:gd name="T11" fmla="*/ 473 h 1946"/>
              <a:gd name="T12" fmla="*/ 120 w 2465"/>
              <a:gd name="T13" fmla="*/ 492 h 1946"/>
              <a:gd name="T14" fmla="*/ 0 w 2465"/>
              <a:gd name="T15" fmla="*/ 858 h 1946"/>
              <a:gd name="T16" fmla="*/ 120 w 2465"/>
              <a:gd name="T17" fmla="*/ 771 h 1946"/>
              <a:gd name="T18" fmla="*/ 120 w 2465"/>
              <a:gd name="T19" fmla="*/ 1946 h 1946"/>
              <a:gd name="T20" fmla="*/ 1595 w 2465"/>
              <a:gd name="T21" fmla="*/ 1946 h 1946"/>
              <a:gd name="T22" fmla="*/ 1595 w 2465"/>
              <a:gd name="T23" fmla="*/ 1943 h 1946"/>
              <a:gd name="T24" fmla="*/ 2153 w 2465"/>
              <a:gd name="T25" fmla="*/ 1448 h 1946"/>
              <a:gd name="T26" fmla="*/ 2153 w 2465"/>
              <a:gd name="T27" fmla="*/ 730 h 1946"/>
              <a:gd name="T28" fmla="*/ 2465 w 2465"/>
              <a:gd name="T29" fmla="*/ 415 h 1946"/>
              <a:gd name="T30" fmla="*/ 2153 w 2465"/>
              <a:gd name="T31" fmla="*/ 2 h 1946"/>
              <a:gd name="T32" fmla="*/ 2154 w 2465"/>
              <a:gd name="T33" fmla="*/ 2 h 1946"/>
              <a:gd name="T34" fmla="*/ 1115 w 2465"/>
              <a:gd name="T35" fmla="*/ 778 h 1946"/>
              <a:gd name="T36" fmla="*/ 620 w 2465"/>
              <a:gd name="T37" fmla="*/ 778 h 1946"/>
              <a:gd name="T38" fmla="*/ 620 w 2465"/>
              <a:gd name="T39" fmla="*/ 723 h 1946"/>
              <a:gd name="T40" fmla="*/ 1115 w 2465"/>
              <a:gd name="T41" fmla="*/ 723 h 1946"/>
              <a:gd name="T42" fmla="*/ 1115 w 2465"/>
              <a:gd name="T43" fmla="*/ 778 h 1946"/>
              <a:gd name="T44" fmla="*/ 1557 w 2465"/>
              <a:gd name="T45" fmla="*/ 473 h 1946"/>
              <a:gd name="T46" fmla="*/ 226 w 2465"/>
              <a:gd name="T47" fmla="*/ 473 h 1946"/>
              <a:gd name="T48" fmla="*/ 742 w 2465"/>
              <a:gd name="T49" fmla="*/ 58 h 1946"/>
              <a:gd name="T50" fmla="*/ 2011 w 2465"/>
              <a:gd name="T51" fmla="*/ 58 h 1946"/>
              <a:gd name="T52" fmla="*/ 1557 w 2465"/>
              <a:gd name="T53" fmla="*/ 473 h 1946"/>
              <a:gd name="T54" fmla="*/ 2097 w 2465"/>
              <a:gd name="T55" fmla="*/ 1423 h 1946"/>
              <a:gd name="T56" fmla="*/ 1595 w 2465"/>
              <a:gd name="T57" fmla="*/ 1869 h 1946"/>
              <a:gd name="T58" fmla="*/ 1595 w 2465"/>
              <a:gd name="T59" fmla="*/ 590 h 1946"/>
              <a:gd name="T60" fmla="*/ 1892 w 2465"/>
              <a:gd name="T61" fmla="*/ 994 h 1946"/>
              <a:gd name="T62" fmla="*/ 2097 w 2465"/>
              <a:gd name="T63" fmla="*/ 786 h 1946"/>
              <a:gd name="T64" fmla="*/ 2097 w 2465"/>
              <a:gd name="T65" fmla="*/ 1423 h 19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465" h="1946">
                <a:moveTo>
                  <a:pt x="2154" y="2"/>
                </a:moveTo>
                <a:lnTo>
                  <a:pt x="2153" y="2"/>
                </a:lnTo>
                <a:lnTo>
                  <a:pt x="2152" y="0"/>
                </a:lnTo>
                <a:lnTo>
                  <a:pt x="2149" y="2"/>
                </a:lnTo>
                <a:lnTo>
                  <a:pt x="721" y="2"/>
                </a:lnTo>
                <a:lnTo>
                  <a:pt x="120" y="473"/>
                </a:lnTo>
                <a:lnTo>
                  <a:pt x="120" y="492"/>
                </a:lnTo>
                <a:lnTo>
                  <a:pt x="0" y="858"/>
                </a:lnTo>
                <a:lnTo>
                  <a:pt x="120" y="771"/>
                </a:lnTo>
                <a:lnTo>
                  <a:pt x="120" y="1946"/>
                </a:lnTo>
                <a:lnTo>
                  <a:pt x="1595" y="1946"/>
                </a:lnTo>
                <a:lnTo>
                  <a:pt x="1595" y="1943"/>
                </a:lnTo>
                <a:lnTo>
                  <a:pt x="2153" y="1448"/>
                </a:lnTo>
                <a:lnTo>
                  <a:pt x="2153" y="730"/>
                </a:lnTo>
                <a:lnTo>
                  <a:pt x="2465" y="415"/>
                </a:lnTo>
                <a:lnTo>
                  <a:pt x="2153" y="2"/>
                </a:lnTo>
                <a:lnTo>
                  <a:pt x="2154" y="2"/>
                </a:lnTo>
                <a:close/>
                <a:moveTo>
                  <a:pt x="1115" y="778"/>
                </a:moveTo>
                <a:lnTo>
                  <a:pt x="620" y="778"/>
                </a:lnTo>
                <a:lnTo>
                  <a:pt x="620" y="723"/>
                </a:lnTo>
                <a:lnTo>
                  <a:pt x="1115" y="723"/>
                </a:lnTo>
                <a:lnTo>
                  <a:pt x="1115" y="778"/>
                </a:lnTo>
                <a:close/>
                <a:moveTo>
                  <a:pt x="1557" y="473"/>
                </a:moveTo>
                <a:lnTo>
                  <a:pt x="226" y="473"/>
                </a:lnTo>
                <a:lnTo>
                  <a:pt x="742" y="58"/>
                </a:lnTo>
                <a:lnTo>
                  <a:pt x="2011" y="58"/>
                </a:lnTo>
                <a:lnTo>
                  <a:pt x="1557" y="473"/>
                </a:lnTo>
                <a:close/>
                <a:moveTo>
                  <a:pt x="2097" y="1423"/>
                </a:moveTo>
                <a:lnTo>
                  <a:pt x="1595" y="1869"/>
                </a:lnTo>
                <a:lnTo>
                  <a:pt x="1595" y="590"/>
                </a:lnTo>
                <a:lnTo>
                  <a:pt x="1892" y="994"/>
                </a:lnTo>
                <a:lnTo>
                  <a:pt x="2097" y="786"/>
                </a:lnTo>
                <a:lnTo>
                  <a:pt x="2097" y="142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9" name="TextBox 478">
            <a:extLst>
              <a:ext uri="{FF2B5EF4-FFF2-40B4-BE49-F238E27FC236}">
                <a16:creationId xmlns:a16="http://schemas.microsoft.com/office/drawing/2014/main" id="{7459D383-4558-4D79-AD02-EA322AB25B3B}"/>
              </a:ext>
            </a:extLst>
          </p:cNvPr>
          <p:cNvSpPr txBox="1"/>
          <p:nvPr/>
        </p:nvSpPr>
        <p:spPr>
          <a:xfrm>
            <a:off x="6048928" y="6110828"/>
            <a:ext cx="6232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2%</a:t>
            </a:r>
          </a:p>
        </p:txBody>
      </p:sp>
      <p:sp>
        <p:nvSpPr>
          <p:cNvPr id="480" name="TextBox 479">
            <a:extLst>
              <a:ext uri="{FF2B5EF4-FFF2-40B4-BE49-F238E27FC236}">
                <a16:creationId xmlns:a16="http://schemas.microsoft.com/office/drawing/2014/main" id="{EB6F70B0-22AA-45A8-8230-647C655EF925}"/>
              </a:ext>
            </a:extLst>
          </p:cNvPr>
          <p:cNvSpPr txBox="1"/>
          <p:nvPr/>
        </p:nvSpPr>
        <p:spPr>
          <a:xfrm>
            <a:off x="6736299" y="6227654"/>
            <a:ext cx="57821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nt to see a return label </a:t>
            </a:r>
            <a:b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ght in the box</a:t>
            </a:r>
            <a:endParaRPr lang="en-US" sz="7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91" name="Group 490">
            <a:extLst>
              <a:ext uri="{FF2B5EF4-FFF2-40B4-BE49-F238E27FC236}">
                <a16:creationId xmlns:a16="http://schemas.microsoft.com/office/drawing/2014/main" id="{3CC9B7E9-CF69-480C-8E0F-B49140649C6B}"/>
              </a:ext>
            </a:extLst>
          </p:cNvPr>
          <p:cNvGrpSpPr/>
          <p:nvPr/>
        </p:nvGrpSpPr>
        <p:grpSpPr>
          <a:xfrm>
            <a:off x="7532439" y="5414232"/>
            <a:ext cx="697830" cy="654159"/>
            <a:chOff x="7869062" y="2168063"/>
            <a:chExt cx="4029076" cy="4037013"/>
          </a:xfrm>
          <a:solidFill>
            <a:schemeClr val="tx2"/>
          </a:solidFill>
        </p:grpSpPr>
        <p:sp>
          <p:nvSpPr>
            <p:cNvPr id="484" name="Freeform 130">
              <a:extLst>
                <a:ext uri="{FF2B5EF4-FFF2-40B4-BE49-F238E27FC236}">
                  <a16:creationId xmlns:a16="http://schemas.microsoft.com/office/drawing/2014/main" id="{0D1033B9-3140-4B26-9DFD-A505B915AE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69062" y="4039726"/>
              <a:ext cx="1301750" cy="2066925"/>
            </a:xfrm>
            <a:custGeom>
              <a:avLst/>
              <a:gdLst>
                <a:gd name="T0" fmla="*/ 0 w 820"/>
                <a:gd name="T1" fmla="*/ 0 h 1302"/>
                <a:gd name="T2" fmla="*/ 0 w 820"/>
                <a:gd name="T3" fmla="*/ 1302 h 1302"/>
                <a:gd name="T4" fmla="*/ 820 w 820"/>
                <a:gd name="T5" fmla="*/ 648 h 1302"/>
                <a:gd name="T6" fmla="*/ 0 w 820"/>
                <a:gd name="T7" fmla="*/ 0 h 1302"/>
                <a:gd name="T8" fmla="*/ 0 w 820"/>
                <a:gd name="T9" fmla="*/ 0 h 1302"/>
                <a:gd name="T10" fmla="*/ 0 w 820"/>
                <a:gd name="T11" fmla="*/ 0 h 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0" h="1302">
                  <a:moveTo>
                    <a:pt x="0" y="0"/>
                  </a:moveTo>
                  <a:lnTo>
                    <a:pt x="0" y="1302"/>
                  </a:lnTo>
                  <a:lnTo>
                    <a:pt x="820" y="64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6" name="Freeform 132">
              <a:extLst>
                <a:ext uri="{FF2B5EF4-FFF2-40B4-BE49-F238E27FC236}">
                  <a16:creationId xmlns:a16="http://schemas.microsoft.com/office/drawing/2014/main" id="{2D605AC1-884D-4998-BE4C-DC385BD54F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7800" y="2168063"/>
              <a:ext cx="3881438" cy="2833688"/>
            </a:xfrm>
            <a:custGeom>
              <a:avLst/>
              <a:gdLst>
                <a:gd name="T0" fmla="*/ 416 w 1175"/>
                <a:gd name="T1" fmla="*/ 860 h 860"/>
                <a:gd name="T2" fmla="*/ 748 w 1175"/>
                <a:gd name="T3" fmla="*/ 860 h 860"/>
                <a:gd name="T4" fmla="*/ 1175 w 1175"/>
                <a:gd name="T5" fmla="*/ 521 h 860"/>
                <a:gd name="T6" fmla="*/ 644 w 1175"/>
                <a:gd name="T7" fmla="*/ 26 h 860"/>
                <a:gd name="T8" fmla="*/ 540 w 1175"/>
                <a:gd name="T9" fmla="*/ 26 h 860"/>
                <a:gd name="T10" fmla="*/ 0 w 1175"/>
                <a:gd name="T11" fmla="*/ 530 h 860"/>
                <a:gd name="T12" fmla="*/ 416 w 1175"/>
                <a:gd name="T13" fmla="*/ 860 h 860"/>
                <a:gd name="T14" fmla="*/ 416 w 1175"/>
                <a:gd name="T15" fmla="*/ 860 h 860"/>
                <a:gd name="T16" fmla="*/ 416 w 1175"/>
                <a:gd name="T17" fmla="*/ 860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5" h="860">
                  <a:moveTo>
                    <a:pt x="416" y="860"/>
                  </a:moveTo>
                  <a:cubicBezTo>
                    <a:pt x="748" y="860"/>
                    <a:pt x="748" y="860"/>
                    <a:pt x="748" y="860"/>
                  </a:cubicBezTo>
                  <a:cubicBezTo>
                    <a:pt x="1175" y="521"/>
                    <a:pt x="1175" y="521"/>
                    <a:pt x="1175" y="521"/>
                  </a:cubicBezTo>
                  <a:cubicBezTo>
                    <a:pt x="644" y="26"/>
                    <a:pt x="644" y="26"/>
                    <a:pt x="644" y="26"/>
                  </a:cubicBezTo>
                  <a:cubicBezTo>
                    <a:pt x="616" y="0"/>
                    <a:pt x="568" y="0"/>
                    <a:pt x="540" y="26"/>
                  </a:cubicBezTo>
                  <a:cubicBezTo>
                    <a:pt x="0" y="530"/>
                    <a:pt x="0" y="530"/>
                    <a:pt x="0" y="530"/>
                  </a:cubicBezTo>
                  <a:lnTo>
                    <a:pt x="416" y="860"/>
                  </a:lnTo>
                  <a:close/>
                  <a:moveTo>
                    <a:pt x="416" y="860"/>
                  </a:moveTo>
                  <a:cubicBezTo>
                    <a:pt x="416" y="860"/>
                    <a:pt x="416" y="860"/>
                    <a:pt x="416" y="86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7" name="Freeform 133">
              <a:extLst>
                <a:ext uri="{FF2B5EF4-FFF2-40B4-BE49-F238E27FC236}">
                  <a16:creationId xmlns:a16="http://schemas.microsoft.com/office/drawing/2014/main" id="{D9E59327-6D73-4993-9A8F-643EFD939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61137" y="5133513"/>
              <a:ext cx="3778250" cy="1071563"/>
            </a:xfrm>
            <a:custGeom>
              <a:avLst/>
              <a:gdLst>
                <a:gd name="T0" fmla="*/ 1536 w 2380"/>
                <a:gd name="T1" fmla="*/ 0 h 675"/>
                <a:gd name="T2" fmla="*/ 845 w 2380"/>
                <a:gd name="T3" fmla="*/ 0 h 675"/>
                <a:gd name="T4" fmla="*/ 0 w 2380"/>
                <a:gd name="T5" fmla="*/ 675 h 675"/>
                <a:gd name="T6" fmla="*/ 2380 w 2380"/>
                <a:gd name="T7" fmla="*/ 675 h 675"/>
                <a:gd name="T8" fmla="*/ 1536 w 2380"/>
                <a:gd name="T9" fmla="*/ 0 h 675"/>
                <a:gd name="T10" fmla="*/ 1536 w 2380"/>
                <a:gd name="T11" fmla="*/ 0 h 675"/>
                <a:gd name="T12" fmla="*/ 1536 w 2380"/>
                <a:gd name="T13" fmla="*/ 0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80" h="675">
                  <a:moveTo>
                    <a:pt x="1536" y="0"/>
                  </a:moveTo>
                  <a:lnTo>
                    <a:pt x="845" y="0"/>
                  </a:lnTo>
                  <a:lnTo>
                    <a:pt x="0" y="675"/>
                  </a:lnTo>
                  <a:lnTo>
                    <a:pt x="2380" y="675"/>
                  </a:lnTo>
                  <a:lnTo>
                    <a:pt x="1536" y="0"/>
                  </a:lnTo>
                  <a:close/>
                  <a:moveTo>
                    <a:pt x="1536" y="0"/>
                  </a:moveTo>
                  <a:lnTo>
                    <a:pt x="153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89" name="Freeform 135">
              <a:extLst>
                <a:ext uri="{FF2B5EF4-FFF2-40B4-BE49-F238E27FC236}">
                  <a16:creationId xmlns:a16="http://schemas.microsoft.com/office/drawing/2014/main" id="{40352A27-5B42-4B7C-B44C-0634272218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28125" y="3987338"/>
              <a:ext cx="1370013" cy="2174875"/>
            </a:xfrm>
            <a:custGeom>
              <a:avLst/>
              <a:gdLst>
                <a:gd name="T0" fmla="*/ 0 w 863"/>
                <a:gd name="T1" fmla="*/ 681 h 1370"/>
                <a:gd name="T2" fmla="*/ 863 w 863"/>
                <a:gd name="T3" fmla="*/ 1370 h 1370"/>
                <a:gd name="T4" fmla="*/ 863 w 863"/>
                <a:gd name="T5" fmla="*/ 0 h 1370"/>
                <a:gd name="T6" fmla="*/ 0 w 863"/>
                <a:gd name="T7" fmla="*/ 681 h 1370"/>
                <a:gd name="T8" fmla="*/ 0 w 863"/>
                <a:gd name="T9" fmla="*/ 681 h 1370"/>
                <a:gd name="T10" fmla="*/ 0 w 863"/>
                <a:gd name="T11" fmla="*/ 681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63" h="1370">
                  <a:moveTo>
                    <a:pt x="0" y="681"/>
                  </a:moveTo>
                  <a:lnTo>
                    <a:pt x="863" y="1370"/>
                  </a:lnTo>
                  <a:lnTo>
                    <a:pt x="863" y="0"/>
                  </a:lnTo>
                  <a:lnTo>
                    <a:pt x="0" y="681"/>
                  </a:lnTo>
                  <a:close/>
                  <a:moveTo>
                    <a:pt x="0" y="681"/>
                  </a:moveTo>
                  <a:lnTo>
                    <a:pt x="0" y="68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92" name="TextBox 491">
            <a:extLst>
              <a:ext uri="{FF2B5EF4-FFF2-40B4-BE49-F238E27FC236}">
                <a16:creationId xmlns:a16="http://schemas.microsoft.com/office/drawing/2014/main" id="{DAC5B03E-E50C-434A-8F76-BC13781D2612}"/>
              </a:ext>
            </a:extLst>
          </p:cNvPr>
          <p:cNvSpPr txBox="1"/>
          <p:nvPr/>
        </p:nvSpPr>
        <p:spPr>
          <a:xfrm>
            <a:off x="7441421" y="5557056"/>
            <a:ext cx="86540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’RE</a:t>
            </a:r>
          </a:p>
          <a:p>
            <a:pPr algn="ctr"/>
            <a:r>
              <a:rPr lang="en-US" sz="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BSCRIBED!</a:t>
            </a:r>
          </a:p>
        </p:txBody>
      </p:sp>
      <p:sp>
        <p:nvSpPr>
          <p:cNvPr id="493" name="TextBox 492">
            <a:extLst>
              <a:ext uri="{FF2B5EF4-FFF2-40B4-BE49-F238E27FC236}">
                <a16:creationId xmlns:a16="http://schemas.microsoft.com/office/drawing/2014/main" id="{1A1EB093-D77D-411D-9230-AE67C1544F00}"/>
              </a:ext>
            </a:extLst>
          </p:cNvPr>
          <p:cNvSpPr txBox="1"/>
          <p:nvPr/>
        </p:nvSpPr>
        <p:spPr>
          <a:xfrm>
            <a:off x="7379266" y="6090331"/>
            <a:ext cx="110507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TURE STATE:</a:t>
            </a:r>
          </a:p>
        </p:txBody>
      </p:sp>
      <p:sp>
        <p:nvSpPr>
          <p:cNvPr id="494" name="TextBox 493">
            <a:extLst>
              <a:ext uri="{FF2B5EF4-FFF2-40B4-BE49-F238E27FC236}">
                <a16:creationId xmlns:a16="http://schemas.microsoft.com/office/drawing/2014/main" id="{C684409B-6481-41C3-B927-28F43BB50802}"/>
              </a:ext>
            </a:extLst>
          </p:cNvPr>
          <p:cNvSpPr txBox="1"/>
          <p:nvPr/>
        </p:nvSpPr>
        <p:spPr>
          <a:xfrm>
            <a:off x="7554240" y="6209130"/>
            <a:ext cx="38862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2%</a:t>
            </a:r>
          </a:p>
        </p:txBody>
      </p:sp>
      <p:sp>
        <p:nvSpPr>
          <p:cNvPr id="495" name="TextBox 494">
            <a:extLst>
              <a:ext uri="{FF2B5EF4-FFF2-40B4-BE49-F238E27FC236}">
                <a16:creationId xmlns:a16="http://schemas.microsoft.com/office/drawing/2014/main" id="{2A56AC83-108C-45C5-BE67-8DF544354A06}"/>
              </a:ext>
            </a:extLst>
          </p:cNvPr>
          <p:cNvSpPr txBox="1"/>
          <p:nvPr/>
        </p:nvSpPr>
        <p:spPr>
          <a:xfrm>
            <a:off x="7962494" y="6268628"/>
            <a:ext cx="63748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ticipate in</a:t>
            </a:r>
          </a:p>
        </p:txBody>
      </p:sp>
      <p:sp>
        <p:nvSpPr>
          <p:cNvPr id="496" name="TextBox 495">
            <a:extLst>
              <a:ext uri="{FF2B5EF4-FFF2-40B4-BE49-F238E27FC236}">
                <a16:creationId xmlns:a16="http://schemas.microsoft.com/office/drawing/2014/main" id="{6AA699E7-2B05-42EE-B58C-A26455A436AE}"/>
              </a:ext>
            </a:extLst>
          </p:cNvPr>
          <p:cNvSpPr txBox="1"/>
          <p:nvPr/>
        </p:nvSpPr>
        <p:spPr>
          <a:xfrm>
            <a:off x="8282707" y="5599287"/>
            <a:ext cx="64673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uld consider enrolling in the future </a:t>
            </a:r>
          </a:p>
        </p:txBody>
      </p:sp>
      <p:sp>
        <p:nvSpPr>
          <p:cNvPr id="497" name="TextBox 496">
            <a:extLst>
              <a:ext uri="{FF2B5EF4-FFF2-40B4-BE49-F238E27FC236}">
                <a16:creationId xmlns:a16="http://schemas.microsoft.com/office/drawing/2014/main" id="{D437F042-1BA9-4E7D-B74A-6C30BFB76D2D}"/>
              </a:ext>
            </a:extLst>
          </p:cNvPr>
          <p:cNvSpPr txBox="1"/>
          <p:nvPr/>
        </p:nvSpPr>
        <p:spPr>
          <a:xfrm>
            <a:off x="8267310" y="5399271"/>
            <a:ext cx="38862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7%</a:t>
            </a:r>
          </a:p>
        </p:txBody>
      </p:sp>
      <p:sp>
        <p:nvSpPr>
          <p:cNvPr id="523" name="AutoShape 150">
            <a:extLst>
              <a:ext uri="{FF2B5EF4-FFF2-40B4-BE49-F238E27FC236}">
                <a16:creationId xmlns:a16="http://schemas.microsoft.com/office/drawing/2014/main" id="{E11EC042-A569-4929-BB3F-D9FE93FA7DBF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 rot="12531672">
            <a:off x="3692521" y="5451880"/>
            <a:ext cx="421583" cy="319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4" name="Freeform 152">
            <a:extLst>
              <a:ext uri="{FF2B5EF4-FFF2-40B4-BE49-F238E27FC236}">
                <a16:creationId xmlns:a16="http://schemas.microsoft.com/office/drawing/2014/main" id="{29C11DC6-5997-4B22-B556-FBE1F037C240}"/>
              </a:ext>
            </a:extLst>
          </p:cNvPr>
          <p:cNvSpPr>
            <a:spLocks/>
          </p:cNvSpPr>
          <p:nvPr/>
        </p:nvSpPr>
        <p:spPr bwMode="auto">
          <a:xfrm rot="12531672">
            <a:off x="3749566" y="5466693"/>
            <a:ext cx="360480" cy="319560"/>
          </a:xfrm>
          <a:custGeom>
            <a:avLst/>
            <a:gdLst>
              <a:gd name="T0" fmla="*/ 1752 w 1752"/>
              <a:gd name="T1" fmla="*/ 35 h 1662"/>
              <a:gd name="T2" fmla="*/ 1718 w 1752"/>
              <a:gd name="T3" fmla="*/ 0 h 1662"/>
              <a:gd name="T4" fmla="*/ 1684 w 1752"/>
              <a:gd name="T5" fmla="*/ 35 h 1662"/>
              <a:gd name="T6" fmla="*/ 1684 w 1752"/>
              <a:gd name="T7" fmla="*/ 83 h 1662"/>
              <a:gd name="T8" fmla="*/ 1666 w 1752"/>
              <a:gd name="T9" fmla="*/ 87 h 1662"/>
              <a:gd name="T10" fmla="*/ 315 w 1752"/>
              <a:gd name="T11" fmla="*/ 551 h 1662"/>
              <a:gd name="T12" fmla="*/ 217 w 1752"/>
              <a:gd name="T13" fmla="*/ 581 h 1662"/>
              <a:gd name="T14" fmla="*/ 126 w 1752"/>
              <a:gd name="T15" fmla="*/ 537 h 1662"/>
              <a:gd name="T16" fmla="*/ 80 w 1752"/>
              <a:gd name="T17" fmla="*/ 511 h 1662"/>
              <a:gd name="T18" fmla="*/ 45 w 1752"/>
              <a:gd name="T19" fmla="*/ 501 h 1662"/>
              <a:gd name="T20" fmla="*/ 0 w 1752"/>
              <a:gd name="T21" fmla="*/ 558 h 1662"/>
              <a:gd name="T22" fmla="*/ 0 w 1752"/>
              <a:gd name="T23" fmla="*/ 1104 h 1662"/>
              <a:gd name="T24" fmla="*/ 45 w 1752"/>
              <a:gd name="T25" fmla="*/ 1161 h 1662"/>
              <a:gd name="T26" fmla="*/ 80 w 1752"/>
              <a:gd name="T27" fmla="*/ 1151 h 1662"/>
              <a:gd name="T28" fmla="*/ 126 w 1752"/>
              <a:gd name="T29" fmla="*/ 1126 h 1662"/>
              <a:gd name="T30" fmla="*/ 217 w 1752"/>
              <a:gd name="T31" fmla="*/ 1081 h 1662"/>
              <a:gd name="T32" fmla="*/ 315 w 1752"/>
              <a:gd name="T33" fmla="*/ 1111 h 1662"/>
              <a:gd name="T34" fmla="*/ 527 w 1752"/>
              <a:gd name="T35" fmla="*/ 1184 h 1662"/>
              <a:gd name="T36" fmla="*/ 485 w 1752"/>
              <a:gd name="T37" fmla="*/ 1310 h 1662"/>
              <a:gd name="T38" fmla="*/ 477 w 1752"/>
              <a:gd name="T39" fmla="*/ 1357 h 1662"/>
              <a:gd name="T40" fmla="*/ 578 w 1752"/>
              <a:gd name="T41" fmla="*/ 1497 h 1662"/>
              <a:gd name="T42" fmla="*/ 836 w 1752"/>
              <a:gd name="T43" fmla="*/ 1584 h 1662"/>
              <a:gd name="T44" fmla="*/ 884 w 1752"/>
              <a:gd name="T45" fmla="*/ 1592 h 1662"/>
              <a:gd name="T46" fmla="*/ 1025 w 1752"/>
              <a:gd name="T47" fmla="*/ 1492 h 1662"/>
              <a:gd name="T48" fmla="*/ 1066 w 1752"/>
              <a:gd name="T49" fmla="*/ 1369 h 1662"/>
              <a:gd name="T50" fmla="*/ 1666 w 1752"/>
              <a:gd name="T51" fmla="*/ 1575 h 1662"/>
              <a:gd name="T52" fmla="*/ 1684 w 1752"/>
              <a:gd name="T53" fmla="*/ 1579 h 1662"/>
              <a:gd name="T54" fmla="*/ 1684 w 1752"/>
              <a:gd name="T55" fmla="*/ 1628 h 1662"/>
              <a:gd name="T56" fmla="*/ 1718 w 1752"/>
              <a:gd name="T57" fmla="*/ 1662 h 1662"/>
              <a:gd name="T58" fmla="*/ 1752 w 1752"/>
              <a:gd name="T59" fmla="*/ 1628 h 1662"/>
              <a:gd name="T60" fmla="*/ 1752 w 1752"/>
              <a:gd name="T61" fmla="*/ 35 h 1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752" h="1662">
                <a:moveTo>
                  <a:pt x="1752" y="35"/>
                </a:moveTo>
                <a:cubicBezTo>
                  <a:pt x="1752" y="16"/>
                  <a:pt x="1737" y="0"/>
                  <a:pt x="1718" y="0"/>
                </a:cubicBezTo>
                <a:cubicBezTo>
                  <a:pt x="1699" y="0"/>
                  <a:pt x="1684" y="16"/>
                  <a:pt x="1684" y="35"/>
                </a:cubicBezTo>
                <a:cubicBezTo>
                  <a:pt x="1684" y="83"/>
                  <a:pt x="1684" y="83"/>
                  <a:pt x="1684" y="83"/>
                </a:cubicBezTo>
                <a:cubicBezTo>
                  <a:pt x="1678" y="84"/>
                  <a:pt x="1672" y="85"/>
                  <a:pt x="1666" y="87"/>
                </a:cubicBezTo>
                <a:cubicBezTo>
                  <a:pt x="315" y="551"/>
                  <a:pt x="315" y="551"/>
                  <a:pt x="315" y="551"/>
                </a:cubicBezTo>
                <a:cubicBezTo>
                  <a:pt x="268" y="567"/>
                  <a:pt x="224" y="581"/>
                  <a:pt x="217" y="581"/>
                </a:cubicBezTo>
                <a:cubicBezTo>
                  <a:pt x="211" y="581"/>
                  <a:pt x="170" y="561"/>
                  <a:pt x="126" y="537"/>
                </a:cubicBezTo>
                <a:cubicBezTo>
                  <a:pt x="80" y="511"/>
                  <a:pt x="80" y="511"/>
                  <a:pt x="80" y="511"/>
                </a:cubicBezTo>
                <a:cubicBezTo>
                  <a:pt x="67" y="504"/>
                  <a:pt x="56" y="501"/>
                  <a:pt x="45" y="501"/>
                </a:cubicBezTo>
                <a:cubicBezTo>
                  <a:pt x="18" y="501"/>
                  <a:pt x="0" y="522"/>
                  <a:pt x="0" y="558"/>
                </a:cubicBezTo>
                <a:cubicBezTo>
                  <a:pt x="0" y="1104"/>
                  <a:pt x="0" y="1104"/>
                  <a:pt x="0" y="1104"/>
                </a:cubicBezTo>
                <a:cubicBezTo>
                  <a:pt x="0" y="1140"/>
                  <a:pt x="18" y="1161"/>
                  <a:pt x="45" y="1161"/>
                </a:cubicBezTo>
                <a:cubicBezTo>
                  <a:pt x="56" y="1161"/>
                  <a:pt x="67" y="1158"/>
                  <a:pt x="80" y="1151"/>
                </a:cubicBezTo>
                <a:cubicBezTo>
                  <a:pt x="126" y="1126"/>
                  <a:pt x="126" y="1126"/>
                  <a:pt x="126" y="1126"/>
                </a:cubicBezTo>
                <a:cubicBezTo>
                  <a:pt x="170" y="1101"/>
                  <a:pt x="211" y="1081"/>
                  <a:pt x="217" y="1081"/>
                </a:cubicBezTo>
                <a:cubicBezTo>
                  <a:pt x="224" y="1081"/>
                  <a:pt x="268" y="1095"/>
                  <a:pt x="315" y="1111"/>
                </a:cubicBezTo>
                <a:cubicBezTo>
                  <a:pt x="527" y="1184"/>
                  <a:pt x="527" y="1184"/>
                  <a:pt x="527" y="1184"/>
                </a:cubicBezTo>
                <a:cubicBezTo>
                  <a:pt x="485" y="1310"/>
                  <a:pt x="485" y="1310"/>
                  <a:pt x="485" y="1310"/>
                </a:cubicBezTo>
                <a:cubicBezTo>
                  <a:pt x="479" y="1325"/>
                  <a:pt x="477" y="1341"/>
                  <a:pt x="477" y="1357"/>
                </a:cubicBezTo>
                <a:cubicBezTo>
                  <a:pt x="477" y="1419"/>
                  <a:pt x="516" y="1476"/>
                  <a:pt x="578" y="1497"/>
                </a:cubicBezTo>
                <a:cubicBezTo>
                  <a:pt x="836" y="1584"/>
                  <a:pt x="836" y="1584"/>
                  <a:pt x="836" y="1584"/>
                </a:cubicBezTo>
                <a:cubicBezTo>
                  <a:pt x="852" y="1590"/>
                  <a:pt x="868" y="1592"/>
                  <a:pt x="884" y="1592"/>
                </a:cubicBezTo>
                <a:cubicBezTo>
                  <a:pt x="946" y="1592"/>
                  <a:pt x="1003" y="1553"/>
                  <a:pt x="1025" y="1492"/>
                </a:cubicBezTo>
                <a:cubicBezTo>
                  <a:pt x="1066" y="1369"/>
                  <a:pt x="1066" y="1369"/>
                  <a:pt x="1066" y="1369"/>
                </a:cubicBezTo>
                <a:cubicBezTo>
                  <a:pt x="1666" y="1575"/>
                  <a:pt x="1666" y="1575"/>
                  <a:pt x="1666" y="1575"/>
                </a:cubicBezTo>
                <a:cubicBezTo>
                  <a:pt x="1672" y="1577"/>
                  <a:pt x="1678" y="1578"/>
                  <a:pt x="1684" y="1579"/>
                </a:cubicBezTo>
                <a:cubicBezTo>
                  <a:pt x="1684" y="1628"/>
                  <a:pt x="1684" y="1628"/>
                  <a:pt x="1684" y="1628"/>
                </a:cubicBezTo>
                <a:cubicBezTo>
                  <a:pt x="1684" y="1647"/>
                  <a:pt x="1699" y="1662"/>
                  <a:pt x="1718" y="1662"/>
                </a:cubicBezTo>
                <a:cubicBezTo>
                  <a:pt x="1737" y="1662"/>
                  <a:pt x="1752" y="1647"/>
                  <a:pt x="1752" y="1628"/>
                </a:cubicBezTo>
                <a:cubicBezTo>
                  <a:pt x="1752" y="35"/>
                  <a:pt x="1752" y="35"/>
                  <a:pt x="1752" y="35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solidFill>
              <a:schemeClr val="tx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5" name="Freeform 153">
            <a:extLst>
              <a:ext uri="{FF2B5EF4-FFF2-40B4-BE49-F238E27FC236}">
                <a16:creationId xmlns:a16="http://schemas.microsoft.com/office/drawing/2014/main" id="{425A540A-5D14-4EFC-8BED-F5BD6CF22E01}"/>
              </a:ext>
            </a:extLst>
          </p:cNvPr>
          <p:cNvSpPr>
            <a:spLocks/>
          </p:cNvSpPr>
          <p:nvPr/>
        </p:nvSpPr>
        <p:spPr bwMode="auto">
          <a:xfrm rot="12531672">
            <a:off x="3816207" y="5527728"/>
            <a:ext cx="276203" cy="224498"/>
          </a:xfrm>
          <a:custGeom>
            <a:avLst/>
            <a:gdLst>
              <a:gd name="T0" fmla="*/ 148 w 1342"/>
              <a:gd name="T1" fmla="*/ 766 h 1168"/>
              <a:gd name="T2" fmla="*/ 24 w 1342"/>
              <a:gd name="T3" fmla="*/ 819 h 1168"/>
              <a:gd name="T4" fmla="*/ 0 w 1342"/>
              <a:gd name="T5" fmla="*/ 832 h 1168"/>
              <a:gd name="T6" fmla="*/ 0 w 1342"/>
              <a:gd name="T7" fmla="*/ 336 h 1168"/>
              <a:gd name="T8" fmla="*/ 24 w 1342"/>
              <a:gd name="T9" fmla="*/ 349 h 1168"/>
              <a:gd name="T10" fmla="*/ 148 w 1342"/>
              <a:gd name="T11" fmla="*/ 402 h 1168"/>
              <a:gd name="T12" fmla="*/ 269 w 1342"/>
              <a:gd name="T13" fmla="*/ 368 h 1168"/>
              <a:gd name="T14" fmla="*/ 1342 w 1342"/>
              <a:gd name="T15" fmla="*/ 0 h 1168"/>
              <a:gd name="T16" fmla="*/ 1342 w 1342"/>
              <a:gd name="T17" fmla="*/ 1168 h 1168"/>
              <a:gd name="T18" fmla="*/ 269 w 1342"/>
              <a:gd name="T19" fmla="*/ 800 h 1168"/>
              <a:gd name="T20" fmla="*/ 148 w 1342"/>
              <a:gd name="T21" fmla="*/ 766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42" h="1168">
                <a:moveTo>
                  <a:pt x="148" y="766"/>
                </a:moveTo>
                <a:cubicBezTo>
                  <a:pt x="135" y="766"/>
                  <a:pt x="119" y="766"/>
                  <a:pt x="24" y="819"/>
                </a:cubicBezTo>
                <a:cubicBezTo>
                  <a:pt x="0" y="832"/>
                  <a:pt x="0" y="832"/>
                  <a:pt x="0" y="832"/>
                </a:cubicBezTo>
                <a:cubicBezTo>
                  <a:pt x="0" y="336"/>
                  <a:pt x="0" y="336"/>
                  <a:pt x="0" y="336"/>
                </a:cubicBezTo>
                <a:cubicBezTo>
                  <a:pt x="24" y="349"/>
                  <a:pt x="24" y="349"/>
                  <a:pt x="24" y="349"/>
                </a:cubicBezTo>
                <a:cubicBezTo>
                  <a:pt x="119" y="402"/>
                  <a:pt x="135" y="402"/>
                  <a:pt x="148" y="402"/>
                </a:cubicBezTo>
                <a:cubicBezTo>
                  <a:pt x="157" y="402"/>
                  <a:pt x="171" y="402"/>
                  <a:pt x="269" y="368"/>
                </a:cubicBezTo>
                <a:cubicBezTo>
                  <a:pt x="1342" y="0"/>
                  <a:pt x="1342" y="0"/>
                  <a:pt x="1342" y="0"/>
                </a:cubicBezTo>
                <a:cubicBezTo>
                  <a:pt x="1342" y="1168"/>
                  <a:pt x="1342" y="1168"/>
                  <a:pt x="1342" y="1168"/>
                </a:cubicBezTo>
                <a:cubicBezTo>
                  <a:pt x="269" y="800"/>
                  <a:pt x="269" y="800"/>
                  <a:pt x="269" y="800"/>
                </a:cubicBezTo>
                <a:cubicBezTo>
                  <a:pt x="171" y="766"/>
                  <a:pt x="157" y="766"/>
                  <a:pt x="148" y="766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tx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6" name="Freeform 154">
            <a:extLst>
              <a:ext uri="{FF2B5EF4-FFF2-40B4-BE49-F238E27FC236}">
                <a16:creationId xmlns:a16="http://schemas.microsoft.com/office/drawing/2014/main" id="{5CC4D3B1-53D7-45D2-84CC-F9C4AB1C8F5F}"/>
              </a:ext>
            </a:extLst>
          </p:cNvPr>
          <p:cNvSpPr>
            <a:spLocks/>
          </p:cNvSpPr>
          <p:nvPr/>
        </p:nvSpPr>
        <p:spPr bwMode="auto">
          <a:xfrm rot="12531672">
            <a:off x="3781597" y="5425944"/>
            <a:ext cx="41990" cy="260725"/>
          </a:xfrm>
          <a:custGeom>
            <a:avLst/>
            <a:gdLst>
              <a:gd name="T0" fmla="*/ 0 w 424"/>
              <a:gd name="T1" fmla="*/ 2668 h 2814"/>
              <a:gd name="T2" fmla="*/ 0 w 424"/>
              <a:gd name="T3" fmla="*/ 145 h 2814"/>
              <a:gd name="T4" fmla="*/ 424 w 424"/>
              <a:gd name="T5" fmla="*/ 0 h 2814"/>
              <a:gd name="T6" fmla="*/ 424 w 424"/>
              <a:gd name="T7" fmla="*/ 2814 h 2814"/>
              <a:gd name="T8" fmla="*/ 0 w 424"/>
              <a:gd name="T9" fmla="*/ 2668 h 2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4" h="2814">
                <a:moveTo>
                  <a:pt x="0" y="2668"/>
                </a:moveTo>
                <a:lnTo>
                  <a:pt x="0" y="145"/>
                </a:lnTo>
                <a:lnTo>
                  <a:pt x="424" y="0"/>
                </a:lnTo>
                <a:lnTo>
                  <a:pt x="424" y="2814"/>
                </a:lnTo>
                <a:lnTo>
                  <a:pt x="0" y="2668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7" name="Freeform 155">
            <a:extLst>
              <a:ext uri="{FF2B5EF4-FFF2-40B4-BE49-F238E27FC236}">
                <a16:creationId xmlns:a16="http://schemas.microsoft.com/office/drawing/2014/main" id="{5CF08963-D981-483D-AC09-069BD5B8F604}"/>
              </a:ext>
            </a:extLst>
          </p:cNvPr>
          <p:cNvSpPr>
            <a:spLocks/>
          </p:cNvSpPr>
          <p:nvPr/>
        </p:nvSpPr>
        <p:spPr bwMode="auto">
          <a:xfrm rot="12531672">
            <a:off x="3950859" y="5516142"/>
            <a:ext cx="94081" cy="60966"/>
          </a:xfrm>
          <a:custGeom>
            <a:avLst/>
            <a:gdLst>
              <a:gd name="T0" fmla="*/ 415 w 457"/>
              <a:gd name="T1" fmla="*/ 263 h 317"/>
              <a:gd name="T2" fmla="*/ 339 w 457"/>
              <a:gd name="T3" fmla="*/ 317 h 317"/>
              <a:gd name="T4" fmla="*/ 313 w 457"/>
              <a:gd name="T5" fmla="*/ 313 h 317"/>
              <a:gd name="T6" fmla="*/ 55 w 457"/>
              <a:gd name="T7" fmla="*/ 226 h 317"/>
              <a:gd name="T8" fmla="*/ 0 w 457"/>
              <a:gd name="T9" fmla="*/ 150 h 317"/>
              <a:gd name="T10" fmla="*/ 5 w 457"/>
              <a:gd name="T11" fmla="*/ 125 h 317"/>
              <a:gd name="T12" fmla="*/ 47 w 457"/>
              <a:gd name="T13" fmla="*/ 0 h 317"/>
              <a:gd name="T14" fmla="*/ 457 w 457"/>
              <a:gd name="T15" fmla="*/ 140 h 317"/>
              <a:gd name="T16" fmla="*/ 415 w 457"/>
              <a:gd name="T17" fmla="*/ 263 h 3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7" h="317">
                <a:moveTo>
                  <a:pt x="415" y="263"/>
                </a:moveTo>
                <a:cubicBezTo>
                  <a:pt x="403" y="296"/>
                  <a:pt x="372" y="317"/>
                  <a:pt x="339" y="317"/>
                </a:cubicBezTo>
                <a:cubicBezTo>
                  <a:pt x="330" y="317"/>
                  <a:pt x="321" y="316"/>
                  <a:pt x="313" y="313"/>
                </a:cubicBezTo>
                <a:cubicBezTo>
                  <a:pt x="55" y="226"/>
                  <a:pt x="55" y="226"/>
                  <a:pt x="55" y="226"/>
                </a:cubicBezTo>
                <a:cubicBezTo>
                  <a:pt x="22" y="215"/>
                  <a:pt x="0" y="183"/>
                  <a:pt x="0" y="150"/>
                </a:cubicBezTo>
                <a:cubicBezTo>
                  <a:pt x="0" y="141"/>
                  <a:pt x="2" y="133"/>
                  <a:pt x="5" y="125"/>
                </a:cubicBezTo>
                <a:cubicBezTo>
                  <a:pt x="47" y="0"/>
                  <a:pt x="47" y="0"/>
                  <a:pt x="47" y="0"/>
                </a:cubicBezTo>
                <a:cubicBezTo>
                  <a:pt x="457" y="140"/>
                  <a:pt x="457" y="140"/>
                  <a:pt x="457" y="140"/>
                </a:cubicBezTo>
                <a:lnTo>
                  <a:pt x="415" y="263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tx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8" name="Freeform 156">
            <a:extLst>
              <a:ext uri="{FF2B5EF4-FFF2-40B4-BE49-F238E27FC236}">
                <a16:creationId xmlns:a16="http://schemas.microsoft.com/office/drawing/2014/main" id="{4351CC02-7F2C-4500-9087-028269D019B2}"/>
              </a:ext>
            </a:extLst>
          </p:cNvPr>
          <p:cNvSpPr>
            <a:spLocks/>
          </p:cNvSpPr>
          <p:nvPr/>
        </p:nvSpPr>
        <p:spPr bwMode="auto">
          <a:xfrm rot="12531672">
            <a:off x="3715458" y="5515804"/>
            <a:ext cx="50804" cy="13064"/>
          </a:xfrm>
          <a:custGeom>
            <a:avLst/>
            <a:gdLst>
              <a:gd name="T0" fmla="*/ 213 w 247"/>
              <a:gd name="T1" fmla="*/ 0 h 68"/>
              <a:gd name="T2" fmla="*/ 34 w 247"/>
              <a:gd name="T3" fmla="*/ 0 h 68"/>
              <a:gd name="T4" fmla="*/ 0 w 247"/>
              <a:gd name="T5" fmla="*/ 34 h 68"/>
              <a:gd name="T6" fmla="*/ 34 w 247"/>
              <a:gd name="T7" fmla="*/ 68 h 68"/>
              <a:gd name="T8" fmla="*/ 213 w 247"/>
              <a:gd name="T9" fmla="*/ 68 h 68"/>
              <a:gd name="T10" fmla="*/ 247 w 247"/>
              <a:gd name="T11" fmla="*/ 34 h 68"/>
              <a:gd name="T12" fmla="*/ 213 w 247"/>
              <a:gd name="T13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47" h="68">
                <a:moveTo>
                  <a:pt x="213" y="0"/>
                </a:moveTo>
                <a:cubicBezTo>
                  <a:pt x="34" y="0"/>
                  <a:pt x="34" y="0"/>
                  <a:pt x="34" y="0"/>
                </a:cubicBezTo>
                <a:cubicBezTo>
                  <a:pt x="15" y="0"/>
                  <a:pt x="0" y="15"/>
                  <a:pt x="0" y="34"/>
                </a:cubicBezTo>
                <a:cubicBezTo>
                  <a:pt x="0" y="53"/>
                  <a:pt x="15" y="68"/>
                  <a:pt x="34" y="68"/>
                </a:cubicBezTo>
                <a:cubicBezTo>
                  <a:pt x="213" y="68"/>
                  <a:pt x="213" y="68"/>
                  <a:pt x="213" y="68"/>
                </a:cubicBezTo>
                <a:cubicBezTo>
                  <a:pt x="232" y="68"/>
                  <a:pt x="247" y="53"/>
                  <a:pt x="247" y="34"/>
                </a:cubicBezTo>
                <a:cubicBezTo>
                  <a:pt x="247" y="15"/>
                  <a:pt x="232" y="0"/>
                  <a:pt x="213" y="0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solidFill>
              <a:schemeClr val="tx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9" name="Freeform 157">
            <a:extLst>
              <a:ext uri="{FF2B5EF4-FFF2-40B4-BE49-F238E27FC236}">
                <a16:creationId xmlns:a16="http://schemas.microsoft.com/office/drawing/2014/main" id="{6DE2C76C-312B-4E46-9E5D-B05B56C327FC}"/>
              </a:ext>
            </a:extLst>
          </p:cNvPr>
          <p:cNvSpPr>
            <a:spLocks/>
          </p:cNvSpPr>
          <p:nvPr/>
        </p:nvSpPr>
        <p:spPr bwMode="auto">
          <a:xfrm rot="12531672">
            <a:off x="3764709" y="5434951"/>
            <a:ext cx="39712" cy="28074"/>
          </a:xfrm>
          <a:custGeom>
            <a:avLst/>
            <a:gdLst>
              <a:gd name="T0" fmla="*/ 171 w 193"/>
              <a:gd name="T1" fmla="*/ 78 h 146"/>
              <a:gd name="T2" fmla="*/ 57 w 193"/>
              <a:gd name="T3" fmla="*/ 10 h 146"/>
              <a:gd name="T4" fmla="*/ 10 w 193"/>
              <a:gd name="T5" fmla="*/ 21 h 146"/>
              <a:gd name="T6" fmla="*/ 22 w 193"/>
              <a:gd name="T7" fmla="*/ 68 h 146"/>
              <a:gd name="T8" fmla="*/ 136 w 193"/>
              <a:gd name="T9" fmla="*/ 136 h 146"/>
              <a:gd name="T10" fmla="*/ 183 w 193"/>
              <a:gd name="T11" fmla="*/ 125 h 146"/>
              <a:gd name="T12" fmla="*/ 171 w 193"/>
              <a:gd name="T13" fmla="*/ 78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3" h="146">
                <a:moveTo>
                  <a:pt x="171" y="78"/>
                </a:moveTo>
                <a:cubicBezTo>
                  <a:pt x="57" y="10"/>
                  <a:pt x="57" y="10"/>
                  <a:pt x="57" y="10"/>
                </a:cubicBezTo>
                <a:cubicBezTo>
                  <a:pt x="41" y="0"/>
                  <a:pt x="20" y="5"/>
                  <a:pt x="10" y="21"/>
                </a:cubicBezTo>
                <a:cubicBezTo>
                  <a:pt x="0" y="37"/>
                  <a:pt x="6" y="58"/>
                  <a:pt x="22" y="68"/>
                </a:cubicBezTo>
                <a:cubicBezTo>
                  <a:pt x="136" y="136"/>
                  <a:pt x="136" y="136"/>
                  <a:pt x="136" y="136"/>
                </a:cubicBezTo>
                <a:cubicBezTo>
                  <a:pt x="152" y="146"/>
                  <a:pt x="174" y="141"/>
                  <a:pt x="183" y="125"/>
                </a:cubicBezTo>
                <a:cubicBezTo>
                  <a:pt x="193" y="108"/>
                  <a:pt x="188" y="87"/>
                  <a:pt x="171" y="78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solidFill>
              <a:schemeClr val="tx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0" name="Freeform 158">
            <a:extLst>
              <a:ext uri="{FF2B5EF4-FFF2-40B4-BE49-F238E27FC236}">
                <a16:creationId xmlns:a16="http://schemas.microsoft.com/office/drawing/2014/main" id="{ED70BA11-83DF-4A53-8FBC-DD77990DF226}"/>
              </a:ext>
            </a:extLst>
          </p:cNvPr>
          <p:cNvSpPr>
            <a:spLocks/>
          </p:cNvSpPr>
          <p:nvPr/>
        </p:nvSpPr>
        <p:spPr bwMode="auto">
          <a:xfrm rot="12531672">
            <a:off x="3682330" y="5584420"/>
            <a:ext cx="39712" cy="28074"/>
          </a:xfrm>
          <a:custGeom>
            <a:avLst/>
            <a:gdLst>
              <a:gd name="T0" fmla="*/ 57 w 193"/>
              <a:gd name="T1" fmla="*/ 137 h 146"/>
              <a:gd name="T2" fmla="*/ 171 w 193"/>
              <a:gd name="T3" fmla="*/ 68 h 146"/>
              <a:gd name="T4" fmla="*/ 183 w 193"/>
              <a:gd name="T5" fmla="*/ 22 h 146"/>
              <a:gd name="T6" fmla="*/ 136 w 193"/>
              <a:gd name="T7" fmla="*/ 10 h 146"/>
              <a:gd name="T8" fmla="*/ 22 w 193"/>
              <a:gd name="T9" fmla="*/ 78 h 146"/>
              <a:gd name="T10" fmla="*/ 10 w 193"/>
              <a:gd name="T11" fmla="*/ 125 h 146"/>
              <a:gd name="T12" fmla="*/ 57 w 193"/>
              <a:gd name="T13" fmla="*/ 137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3" h="146">
                <a:moveTo>
                  <a:pt x="57" y="137"/>
                </a:moveTo>
                <a:cubicBezTo>
                  <a:pt x="171" y="68"/>
                  <a:pt x="171" y="68"/>
                  <a:pt x="171" y="68"/>
                </a:cubicBezTo>
                <a:cubicBezTo>
                  <a:pt x="188" y="59"/>
                  <a:pt x="193" y="38"/>
                  <a:pt x="183" y="22"/>
                </a:cubicBezTo>
                <a:cubicBezTo>
                  <a:pt x="174" y="5"/>
                  <a:pt x="152" y="0"/>
                  <a:pt x="136" y="10"/>
                </a:cubicBezTo>
                <a:cubicBezTo>
                  <a:pt x="22" y="78"/>
                  <a:pt x="22" y="78"/>
                  <a:pt x="22" y="78"/>
                </a:cubicBezTo>
                <a:cubicBezTo>
                  <a:pt x="6" y="88"/>
                  <a:pt x="0" y="109"/>
                  <a:pt x="10" y="125"/>
                </a:cubicBezTo>
                <a:cubicBezTo>
                  <a:pt x="20" y="141"/>
                  <a:pt x="41" y="146"/>
                  <a:pt x="57" y="137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solidFill>
              <a:schemeClr val="tx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1" name="Freeform 159">
            <a:extLst>
              <a:ext uri="{FF2B5EF4-FFF2-40B4-BE49-F238E27FC236}">
                <a16:creationId xmlns:a16="http://schemas.microsoft.com/office/drawing/2014/main" id="{2D882129-0AE9-4877-832A-4CE3AE0A5FDC}"/>
              </a:ext>
            </a:extLst>
          </p:cNvPr>
          <p:cNvSpPr>
            <a:spLocks/>
          </p:cNvSpPr>
          <p:nvPr/>
        </p:nvSpPr>
        <p:spPr bwMode="auto">
          <a:xfrm rot="12531672">
            <a:off x="3875071" y="5656247"/>
            <a:ext cx="63282" cy="30205"/>
          </a:xfrm>
          <a:custGeom>
            <a:avLst/>
            <a:gdLst>
              <a:gd name="T0" fmla="*/ 301 w 308"/>
              <a:gd name="T1" fmla="*/ 27 h 157"/>
              <a:gd name="T2" fmla="*/ 258 w 308"/>
              <a:gd name="T3" fmla="*/ 6 h 157"/>
              <a:gd name="T4" fmla="*/ 27 w 308"/>
              <a:gd name="T5" fmla="*/ 86 h 157"/>
              <a:gd name="T6" fmla="*/ 6 w 308"/>
              <a:gd name="T7" fmla="*/ 130 h 157"/>
              <a:gd name="T8" fmla="*/ 50 w 308"/>
              <a:gd name="T9" fmla="*/ 151 h 157"/>
              <a:gd name="T10" fmla="*/ 280 w 308"/>
              <a:gd name="T11" fmla="*/ 71 h 157"/>
              <a:gd name="T12" fmla="*/ 301 w 308"/>
              <a:gd name="T13" fmla="*/ 27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8" h="157">
                <a:moveTo>
                  <a:pt x="301" y="27"/>
                </a:moveTo>
                <a:cubicBezTo>
                  <a:pt x="295" y="10"/>
                  <a:pt x="275" y="0"/>
                  <a:pt x="258" y="6"/>
                </a:cubicBezTo>
                <a:cubicBezTo>
                  <a:pt x="27" y="86"/>
                  <a:pt x="27" y="86"/>
                  <a:pt x="27" y="86"/>
                </a:cubicBezTo>
                <a:cubicBezTo>
                  <a:pt x="9" y="93"/>
                  <a:pt x="0" y="112"/>
                  <a:pt x="6" y="130"/>
                </a:cubicBezTo>
                <a:cubicBezTo>
                  <a:pt x="12" y="148"/>
                  <a:pt x="32" y="157"/>
                  <a:pt x="50" y="151"/>
                </a:cubicBezTo>
                <a:cubicBezTo>
                  <a:pt x="280" y="71"/>
                  <a:pt x="280" y="71"/>
                  <a:pt x="280" y="71"/>
                </a:cubicBezTo>
                <a:cubicBezTo>
                  <a:pt x="298" y="65"/>
                  <a:pt x="308" y="45"/>
                  <a:pt x="301" y="27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solidFill>
              <a:schemeClr val="tx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2" name="TextBox 531">
            <a:extLst>
              <a:ext uri="{FF2B5EF4-FFF2-40B4-BE49-F238E27FC236}">
                <a16:creationId xmlns:a16="http://schemas.microsoft.com/office/drawing/2014/main" id="{683E6FFE-536D-4CAE-8240-E37C13A950D6}"/>
              </a:ext>
            </a:extLst>
          </p:cNvPr>
          <p:cNvSpPr txBox="1"/>
          <p:nvPr/>
        </p:nvSpPr>
        <p:spPr>
          <a:xfrm>
            <a:off x="2958768" y="5331167"/>
            <a:ext cx="5203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6</a:t>
            </a:r>
            <a:r>
              <a:rPr lang="en-US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  <a:endParaRPr lang="en-US" sz="1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6DDFD603-10D1-41B4-94B5-C4ED4FD961EB}"/>
              </a:ext>
            </a:extLst>
          </p:cNvPr>
          <p:cNvSpPr txBox="1"/>
          <p:nvPr/>
        </p:nvSpPr>
        <p:spPr>
          <a:xfrm>
            <a:off x="3077060" y="5552373"/>
            <a:ext cx="62690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 likely to post on social media when satisfied with an online retailer- </a:t>
            </a:r>
          </a:p>
        </p:txBody>
      </p:sp>
      <p:sp>
        <p:nvSpPr>
          <p:cNvPr id="535" name="TextBox 534">
            <a:extLst>
              <a:ext uri="{FF2B5EF4-FFF2-40B4-BE49-F238E27FC236}">
                <a16:creationId xmlns:a16="http://schemas.microsoft.com/office/drawing/2014/main" id="{70C0DBA4-9047-45B3-B8FA-5A82B4860C7D}"/>
              </a:ext>
            </a:extLst>
          </p:cNvPr>
          <p:cNvSpPr txBox="1"/>
          <p:nvPr/>
        </p:nvSpPr>
        <p:spPr>
          <a:xfrm>
            <a:off x="2959472" y="6100326"/>
            <a:ext cx="623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8%</a:t>
            </a:r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B800E4CF-A717-43C0-9515-B57286B1CA59}"/>
              </a:ext>
            </a:extLst>
          </p:cNvPr>
          <p:cNvSpPr txBox="1"/>
          <p:nvPr/>
        </p:nvSpPr>
        <p:spPr>
          <a:xfrm>
            <a:off x="3069035" y="6325096"/>
            <a:ext cx="83592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EE RETURN</a:t>
            </a:r>
          </a:p>
          <a:p>
            <a:r>
              <a:rPr lang="en-US" sz="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IPPING IS KEY</a:t>
            </a:r>
          </a:p>
          <a:p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a positive return experience</a:t>
            </a:r>
          </a:p>
        </p:txBody>
      </p:sp>
      <p:sp>
        <p:nvSpPr>
          <p:cNvPr id="540" name="Freeform 164">
            <a:extLst>
              <a:ext uri="{FF2B5EF4-FFF2-40B4-BE49-F238E27FC236}">
                <a16:creationId xmlns:a16="http://schemas.microsoft.com/office/drawing/2014/main" id="{779F9A05-7263-4903-BF0F-B9884DF0A446}"/>
              </a:ext>
            </a:extLst>
          </p:cNvPr>
          <p:cNvSpPr>
            <a:spLocks noEditPoints="1"/>
          </p:cNvSpPr>
          <p:nvPr/>
        </p:nvSpPr>
        <p:spPr bwMode="auto">
          <a:xfrm flipV="1">
            <a:off x="3702282" y="6050225"/>
            <a:ext cx="393502" cy="367720"/>
          </a:xfrm>
          <a:custGeom>
            <a:avLst/>
            <a:gdLst>
              <a:gd name="T0" fmla="*/ 1500 w 1653"/>
              <a:gd name="T1" fmla="*/ 0 h 1653"/>
              <a:gd name="T2" fmla="*/ 1038 w 1653"/>
              <a:gd name="T3" fmla="*/ 0 h 1653"/>
              <a:gd name="T4" fmla="*/ 775 w 1653"/>
              <a:gd name="T5" fmla="*/ 109 h 1653"/>
              <a:gd name="T6" fmla="*/ 60 w 1653"/>
              <a:gd name="T7" fmla="*/ 824 h 1653"/>
              <a:gd name="T8" fmla="*/ 60 w 1653"/>
              <a:gd name="T9" fmla="*/ 1042 h 1653"/>
              <a:gd name="T10" fmla="*/ 612 w 1653"/>
              <a:gd name="T11" fmla="*/ 1593 h 1653"/>
              <a:gd name="T12" fmla="*/ 829 w 1653"/>
              <a:gd name="T13" fmla="*/ 1593 h 1653"/>
              <a:gd name="T14" fmla="*/ 1545 w 1653"/>
              <a:gd name="T15" fmla="*/ 878 h 1653"/>
              <a:gd name="T16" fmla="*/ 1653 w 1653"/>
              <a:gd name="T17" fmla="*/ 616 h 1653"/>
              <a:gd name="T18" fmla="*/ 1653 w 1653"/>
              <a:gd name="T19" fmla="*/ 154 h 1653"/>
              <a:gd name="T20" fmla="*/ 1500 w 1653"/>
              <a:gd name="T21" fmla="*/ 0 h 1653"/>
              <a:gd name="T22" fmla="*/ 1295 w 1653"/>
              <a:gd name="T23" fmla="*/ 512 h 1653"/>
              <a:gd name="T24" fmla="*/ 1141 w 1653"/>
              <a:gd name="T25" fmla="*/ 358 h 1653"/>
              <a:gd name="T26" fmla="*/ 1295 w 1653"/>
              <a:gd name="T27" fmla="*/ 205 h 1653"/>
              <a:gd name="T28" fmla="*/ 1449 w 1653"/>
              <a:gd name="T29" fmla="*/ 358 h 1653"/>
              <a:gd name="T30" fmla="*/ 1295 w 1653"/>
              <a:gd name="T31" fmla="*/ 512 h 1653"/>
              <a:gd name="T32" fmla="*/ 1295 w 1653"/>
              <a:gd name="T33" fmla="*/ 512 h 1653"/>
              <a:gd name="T34" fmla="*/ 1295 w 1653"/>
              <a:gd name="T35" fmla="*/ 512 h 1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653" h="1653">
                <a:moveTo>
                  <a:pt x="1500" y="0"/>
                </a:moveTo>
                <a:cubicBezTo>
                  <a:pt x="1038" y="0"/>
                  <a:pt x="1038" y="0"/>
                  <a:pt x="1038" y="0"/>
                </a:cubicBezTo>
                <a:cubicBezTo>
                  <a:pt x="953" y="0"/>
                  <a:pt x="835" y="49"/>
                  <a:pt x="775" y="109"/>
                </a:cubicBezTo>
                <a:cubicBezTo>
                  <a:pt x="60" y="824"/>
                  <a:pt x="60" y="824"/>
                  <a:pt x="60" y="824"/>
                </a:cubicBezTo>
                <a:cubicBezTo>
                  <a:pt x="0" y="884"/>
                  <a:pt x="0" y="982"/>
                  <a:pt x="60" y="1042"/>
                </a:cubicBezTo>
                <a:cubicBezTo>
                  <a:pt x="612" y="1593"/>
                  <a:pt x="612" y="1593"/>
                  <a:pt x="612" y="1593"/>
                </a:cubicBezTo>
                <a:cubicBezTo>
                  <a:pt x="672" y="1653"/>
                  <a:pt x="770" y="1653"/>
                  <a:pt x="829" y="1593"/>
                </a:cubicBezTo>
                <a:cubicBezTo>
                  <a:pt x="1545" y="878"/>
                  <a:pt x="1545" y="878"/>
                  <a:pt x="1545" y="878"/>
                </a:cubicBezTo>
                <a:cubicBezTo>
                  <a:pt x="1604" y="818"/>
                  <a:pt x="1653" y="700"/>
                  <a:pt x="1653" y="616"/>
                </a:cubicBezTo>
                <a:cubicBezTo>
                  <a:pt x="1653" y="154"/>
                  <a:pt x="1653" y="154"/>
                  <a:pt x="1653" y="154"/>
                </a:cubicBezTo>
                <a:cubicBezTo>
                  <a:pt x="1653" y="69"/>
                  <a:pt x="1584" y="0"/>
                  <a:pt x="1500" y="0"/>
                </a:cubicBezTo>
                <a:close/>
                <a:moveTo>
                  <a:pt x="1295" y="512"/>
                </a:moveTo>
                <a:cubicBezTo>
                  <a:pt x="1210" y="512"/>
                  <a:pt x="1141" y="443"/>
                  <a:pt x="1141" y="358"/>
                </a:cubicBezTo>
                <a:cubicBezTo>
                  <a:pt x="1141" y="274"/>
                  <a:pt x="1210" y="205"/>
                  <a:pt x="1295" y="205"/>
                </a:cubicBezTo>
                <a:cubicBezTo>
                  <a:pt x="1380" y="205"/>
                  <a:pt x="1449" y="274"/>
                  <a:pt x="1449" y="358"/>
                </a:cubicBezTo>
                <a:cubicBezTo>
                  <a:pt x="1449" y="443"/>
                  <a:pt x="1380" y="512"/>
                  <a:pt x="1295" y="512"/>
                </a:cubicBezTo>
                <a:close/>
                <a:moveTo>
                  <a:pt x="1295" y="512"/>
                </a:moveTo>
                <a:cubicBezTo>
                  <a:pt x="1295" y="512"/>
                  <a:pt x="1295" y="512"/>
                  <a:pt x="1295" y="512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1" name="TextBox 540">
            <a:extLst>
              <a:ext uri="{FF2B5EF4-FFF2-40B4-BE49-F238E27FC236}">
                <a16:creationId xmlns:a16="http://schemas.microsoft.com/office/drawing/2014/main" id="{3431F2B9-E3A0-4A3D-A808-27595EC68EAE}"/>
              </a:ext>
            </a:extLst>
          </p:cNvPr>
          <p:cNvSpPr txBox="1"/>
          <p:nvPr/>
        </p:nvSpPr>
        <p:spPr>
          <a:xfrm rot="2754096">
            <a:off x="3764418" y="6172000"/>
            <a:ext cx="243310" cy="794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5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EE</a:t>
            </a:r>
          </a:p>
        </p:txBody>
      </p:sp>
      <p:sp>
        <p:nvSpPr>
          <p:cNvPr id="542" name="TextBox 541">
            <a:extLst>
              <a:ext uri="{FF2B5EF4-FFF2-40B4-BE49-F238E27FC236}">
                <a16:creationId xmlns:a16="http://schemas.microsoft.com/office/drawing/2014/main" id="{352A6736-2B03-451A-918A-2733C5568D78}"/>
              </a:ext>
            </a:extLst>
          </p:cNvPr>
          <p:cNvSpPr txBox="1"/>
          <p:nvPr/>
        </p:nvSpPr>
        <p:spPr>
          <a:xfrm>
            <a:off x="1927464" y="6154106"/>
            <a:ext cx="937248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ss than </a:t>
            </a:r>
            <a:r>
              <a:rPr lang="en-US" sz="9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4% </a:t>
            </a:r>
            <a:r>
              <a:rPr lang="en-US" sz="7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 shoppers are satisfied with flexibility post-shipment in choosing delivery date and rerouting packages</a:t>
            </a:r>
          </a:p>
        </p:txBody>
      </p:sp>
      <p:sp>
        <p:nvSpPr>
          <p:cNvPr id="543" name="TextBox 542">
            <a:extLst>
              <a:ext uri="{FF2B5EF4-FFF2-40B4-BE49-F238E27FC236}">
                <a16:creationId xmlns:a16="http://schemas.microsoft.com/office/drawing/2014/main" id="{3ED939BC-73A9-48B0-AFD8-F607DF63827E}"/>
              </a:ext>
            </a:extLst>
          </p:cNvPr>
          <p:cNvSpPr txBox="1"/>
          <p:nvPr/>
        </p:nvSpPr>
        <p:spPr>
          <a:xfrm>
            <a:off x="7548387" y="6399291"/>
            <a:ext cx="99053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curation services” with personalized box shipments</a:t>
            </a:r>
          </a:p>
        </p:txBody>
      </p:sp>
      <p:sp>
        <p:nvSpPr>
          <p:cNvPr id="544" name="TextBox 543">
            <a:extLst>
              <a:ext uri="{FF2B5EF4-FFF2-40B4-BE49-F238E27FC236}">
                <a16:creationId xmlns:a16="http://schemas.microsoft.com/office/drawing/2014/main" id="{A04CC458-14B2-49FB-8C0C-358803F10A95}"/>
              </a:ext>
            </a:extLst>
          </p:cNvPr>
          <p:cNvSpPr txBox="1"/>
          <p:nvPr/>
        </p:nvSpPr>
        <p:spPr>
          <a:xfrm>
            <a:off x="3413731" y="5774699"/>
            <a:ext cx="69210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%</a:t>
            </a:r>
          </a:p>
          <a:p>
            <a:pPr algn="r"/>
            <a:r>
              <a:rPr lang="en-US" sz="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hen dissatisfied</a:t>
            </a:r>
          </a:p>
        </p:txBody>
      </p:sp>
      <p:sp>
        <p:nvSpPr>
          <p:cNvPr id="545" name="Rectangle 544">
            <a:extLst>
              <a:ext uri="{FF2B5EF4-FFF2-40B4-BE49-F238E27FC236}">
                <a16:creationId xmlns:a16="http://schemas.microsoft.com/office/drawing/2014/main" id="{4A087C45-E0F8-4064-A671-CA70B87C7099}"/>
              </a:ext>
            </a:extLst>
          </p:cNvPr>
          <p:cNvSpPr/>
          <p:nvPr/>
        </p:nvSpPr>
        <p:spPr>
          <a:xfrm>
            <a:off x="2020260" y="3286463"/>
            <a:ext cx="1330814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RCHASE</a:t>
            </a:r>
          </a:p>
        </p:txBody>
      </p:sp>
      <p:sp>
        <p:nvSpPr>
          <p:cNvPr id="546" name="Rectangle 545">
            <a:extLst>
              <a:ext uri="{FF2B5EF4-FFF2-40B4-BE49-F238E27FC236}">
                <a16:creationId xmlns:a16="http://schemas.microsoft.com/office/drawing/2014/main" id="{674B14D9-8255-43D4-8708-D35E80447135}"/>
              </a:ext>
            </a:extLst>
          </p:cNvPr>
          <p:cNvSpPr/>
          <p:nvPr/>
        </p:nvSpPr>
        <p:spPr>
          <a:xfrm>
            <a:off x="2004818" y="5080182"/>
            <a:ext cx="1946238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-PURCHASE</a:t>
            </a:r>
          </a:p>
        </p:txBody>
      </p:sp>
      <p:sp>
        <p:nvSpPr>
          <p:cNvPr id="547" name="Rectangle 546">
            <a:extLst>
              <a:ext uri="{FF2B5EF4-FFF2-40B4-BE49-F238E27FC236}">
                <a16:creationId xmlns:a16="http://schemas.microsoft.com/office/drawing/2014/main" id="{5358FF98-B2B6-4CF1-BBD4-86410E68BE4C}"/>
              </a:ext>
            </a:extLst>
          </p:cNvPr>
          <p:cNvSpPr/>
          <p:nvPr/>
        </p:nvSpPr>
        <p:spPr>
          <a:xfrm>
            <a:off x="2020260" y="1508362"/>
            <a:ext cx="167630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- PURCHASE</a:t>
            </a:r>
          </a:p>
        </p:txBody>
      </p:sp>
      <p:sp>
        <p:nvSpPr>
          <p:cNvPr id="230" name="Freeform 154">
            <a:extLst>
              <a:ext uri="{FF2B5EF4-FFF2-40B4-BE49-F238E27FC236}">
                <a16:creationId xmlns:a16="http://schemas.microsoft.com/office/drawing/2014/main" id="{760E2B3D-9409-44EE-89BD-98A4BA14C837}"/>
              </a:ext>
            </a:extLst>
          </p:cNvPr>
          <p:cNvSpPr>
            <a:spLocks/>
          </p:cNvSpPr>
          <p:nvPr/>
        </p:nvSpPr>
        <p:spPr bwMode="auto">
          <a:xfrm>
            <a:off x="3555949" y="1888727"/>
            <a:ext cx="1184827" cy="1307413"/>
          </a:xfrm>
          <a:custGeom>
            <a:avLst/>
            <a:gdLst>
              <a:gd name="T0" fmla="*/ 915 w 1032"/>
              <a:gd name="T1" fmla="*/ 1346 h 1346"/>
              <a:gd name="T2" fmla="*/ 117 w 1032"/>
              <a:gd name="T3" fmla="*/ 1346 h 1346"/>
              <a:gd name="T4" fmla="*/ 0 w 1032"/>
              <a:gd name="T5" fmla="*/ 1229 h 1346"/>
              <a:gd name="T6" fmla="*/ 0 w 1032"/>
              <a:gd name="T7" fmla="*/ 117 h 1346"/>
              <a:gd name="T8" fmla="*/ 117 w 1032"/>
              <a:gd name="T9" fmla="*/ 0 h 1346"/>
              <a:gd name="T10" fmla="*/ 915 w 1032"/>
              <a:gd name="T11" fmla="*/ 0 h 1346"/>
              <a:gd name="T12" fmla="*/ 1032 w 1032"/>
              <a:gd name="T13" fmla="*/ 117 h 1346"/>
              <a:gd name="T14" fmla="*/ 1032 w 1032"/>
              <a:gd name="T15" fmla="*/ 1229 h 1346"/>
              <a:gd name="T16" fmla="*/ 915 w 1032"/>
              <a:gd name="T17" fmla="*/ 1346 h 1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32" h="1346">
                <a:moveTo>
                  <a:pt x="915" y="1346"/>
                </a:moveTo>
                <a:cubicBezTo>
                  <a:pt x="117" y="1346"/>
                  <a:pt x="117" y="1346"/>
                  <a:pt x="117" y="1346"/>
                </a:cubicBezTo>
                <a:cubicBezTo>
                  <a:pt x="53" y="1346"/>
                  <a:pt x="0" y="1293"/>
                  <a:pt x="0" y="1229"/>
                </a:cubicBezTo>
                <a:cubicBezTo>
                  <a:pt x="0" y="117"/>
                  <a:pt x="0" y="117"/>
                  <a:pt x="0" y="117"/>
                </a:cubicBezTo>
                <a:cubicBezTo>
                  <a:pt x="0" y="53"/>
                  <a:pt x="53" y="0"/>
                  <a:pt x="117" y="0"/>
                </a:cubicBezTo>
                <a:cubicBezTo>
                  <a:pt x="915" y="0"/>
                  <a:pt x="915" y="0"/>
                  <a:pt x="915" y="0"/>
                </a:cubicBezTo>
                <a:cubicBezTo>
                  <a:pt x="979" y="0"/>
                  <a:pt x="1032" y="53"/>
                  <a:pt x="1032" y="117"/>
                </a:cubicBezTo>
                <a:cubicBezTo>
                  <a:pt x="1032" y="1229"/>
                  <a:pt x="1032" y="1229"/>
                  <a:pt x="1032" y="1229"/>
                </a:cubicBezTo>
                <a:cubicBezTo>
                  <a:pt x="1032" y="1293"/>
                  <a:pt x="979" y="1346"/>
                  <a:pt x="915" y="1346"/>
                </a:cubicBezTo>
                <a:close/>
              </a:path>
            </a:pathLst>
          </a:custGeom>
          <a:solidFill>
            <a:srgbClr val="B5E9F5">
              <a:alpha val="84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" name="Freeform 155">
            <a:extLst>
              <a:ext uri="{FF2B5EF4-FFF2-40B4-BE49-F238E27FC236}">
                <a16:creationId xmlns:a16="http://schemas.microsoft.com/office/drawing/2014/main" id="{D8F55E65-E3F0-4DE6-B085-244A91EF091A}"/>
              </a:ext>
            </a:extLst>
          </p:cNvPr>
          <p:cNvSpPr>
            <a:spLocks/>
          </p:cNvSpPr>
          <p:nvPr/>
        </p:nvSpPr>
        <p:spPr bwMode="auto">
          <a:xfrm>
            <a:off x="3539945" y="1874417"/>
            <a:ext cx="1216834" cy="1332682"/>
          </a:xfrm>
          <a:custGeom>
            <a:avLst/>
            <a:gdLst>
              <a:gd name="T0" fmla="*/ 932 w 1060"/>
              <a:gd name="T1" fmla="*/ 1372 h 1372"/>
              <a:gd name="T2" fmla="*/ 128 w 1060"/>
              <a:gd name="T3" fmla="*/ 1372 h 1372"/>
              <a:gd name="T4" fmla="*/ 0 w 1060"/>
              <a:gd name="T5" fmla="*/ 1244 h 1372"/>
              <a:gd name="T6" fmla="*/ 0 w 1060"/>
              <a:gd name="T7" fmla="*/ 62 h 1372"/>
              <a:gd name="T8" fmla="*/ 28 w 1060"/>
              <a:gd name="T9" fmla="*/ 62 h 1372"/>
              <a:gd name="T10" fmla="*/ 28 w 1060"/>
              <a:gd name="T11" fmla="*/ 1244 h 1372"/>
              <a:gd name="T12" fmla="*/ 128 w 1060"/>
              <a:gd name="T13" fmla="*/ 1344 h 1372"/>
              <a:gd name="T14" fmla="*/ 932 w 1060"/>
              <a:gd name="T15" fmla="*/ 1344 h 1372"/>
              <a:gd name="T16" fmla="*/ 1032 w 1060"/>
              <a:gd name="T17" fmla="*/ 1244 h 1372"/>
              <a:gd name="T18" fmla="*/ 1032 w 1060"/>
              <a:gd name="T19" fmla="*/ 128 h 1372"/>
              <a:gd name="T20" fmla="*/ 932 w 1060"/>
              <a:gd name="T21" fmla="*/ 28 h 1372"/>
              <a:gd name="T22" fmla="*/ 760 w 1060"/>
              <a:gd name="T23" fmla="*/ 28 h 1372"/>
              <a:gd name="T24" fmla="*/ 760 w 1060"/>
              <a:gd name="T25" fmla="*/ 0 h 1372"/>
              <a:gd name="T26" fmla="*/ 932 w 1060"/>
              <a:gd name="T27" fmla="*/ 0 h 1372"/>
              <a:gd name="T28" fmla="*/ 1060 w 1060"/>
              <a:gd name="T29" fmla="*/ 128 h 1372"/>
              <a:gd name="T30" fmla="*/ 1060 w 1060"/>
              <a:gd name="T31" fmla="*/ 1244 h 1372"/>
              <a:gd name="T32" fmla="*/ 932 w 1060"/>
              <a:gd name="T33" fmla="*/ 1372 h 1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60" h="1372">
                <a:moveTo>
                  <a:pt x="932" y="1372"/>
                </a:moveTo>
                <a:cubicBezTo>
                  <a:pt x="128" y="1372"/>
                  <a:pt x="128" y="1372"/>
                  <a:pt x="128" y="1372"/>
                </a:cubicBezTo>
                <a:cubicBezTo>
                  <a:pt x="57" y="1372"/>
                  <a:pt x="0" y="1315"/>
                  <a:pt x="0" y="1244"/>
                </a:cubicBezTo>
                <a:cubicBezTo>
                  <a:pt x="0" y="62"/>
                  <a:pt x="0" y="62"/>
                  <a:pt x="0" y="62"/>
                </a:cubicBezTo>
                <a:cubicBezTo>
                  <a:pt x="28" y="62"/>
                  <a:pt x="28" y="62"/>
                  <a:pt x="28" y="62"/>
                </a:cubicBezTo>
                <a:cubicBezTo>
                  <a:pt x="28" y="1244"/>
                  <a:pt x="28" y="1244"/>
                  <a:pt x="28" y="1244"/>
                </a:cubicBezTo>
                <a:cubicBezTo>
                  <a:pt x="28" y="1299"/>
                  <a:pt x="73" y="1344"/>
                  <a:pt x="128" y="1344"/>
                </a:cubicBezTo>
                <a:cubicBezTo>
                  <a:pt x="932" y="1344"/>
                  <a:pt x="932" y="1344"/>
                  <a:pt x="932" y="1344"/>
                </a:cubicBezTo>
                <a:cubicBezTo>
                  <a:pt x="987" y="1344"/>
                  <a:pt x="1032" y="1299"/>
                  <a:pt x="1032" y="1244"/>
                </a:cubicBezTo>
                <a:cubicBezTo>
                  <a:pt x="1032" y="128"/>
                  <a:pt x="1032" y="128"/>
                  <a:pt x="1032" y="128"/>
                </a:cubicBezTo>
                <a:cubicBezTo>
                  <a:pt x="1032" y="73"/>
                  <a:pt x="987" y="28"/>
                  <a:pt x="932" y="28"/>
                </a:cubicBezTo>
                <a:cubicBezTo>
                  <a:pt x="760" y="28"/>
                  <a:pt x="760" y="28"/>
                  <a:pt x="760" y="28"/>
                </a:cubicBezTo>
                <a:cubicBezTo>
                  <a:pt x="760" y="0"/>
                  <a:pt x="760" y="0"/>
                  <a:pt x="760" y="0"/>
                </a:cubicBezTo>
                <a:cubicBezTo>
                  <a:pt x="932" y="0"/>
                  <a:pt x="932" y="0"/>
                  <a:pt x="932" y="0"/>
                </a:cubicBezTo>
                <a:cubicBezTo>
                  <a:pt x="1002" y="0"/>
                  <a:pt x="1060" y="57"/>
                  <a:pt x="1060" y="128"/>
                </a:cubicBezTo>
                <a:cubicBezTo>
                  <a:pt x="1060" y="1244"/>
                  <a:pt x="1060" y="1244"/>
                  <a:pt x="1060" y="1244"/>
                </a:cubicBezTo>
                <a:cubicBezTo>
                  <a:pt x="1060" y="1315"/>
                  <a:pt x="1002" y="1372"/>
                  <a:pt x="932" y="1372"/>
                </a:cubicBezTo>
                <a:close/>
              </a:path>
            </a:pathLst>
          </a:custGeom>
          <a:solidFill>
            <a:srgbClr val="4BA1D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" name="Line 156">
            <a:extLst>
              <a:ext uri="{FF2B5EF4-FFF2-40B4-BE49-F238E27FC236}">
                <a16:creationId xmlns:a16="http://schemas.microsoft.com/office/drawing/2014/main" id="{0D877F92-A936-4452-82F1-771767067972}"/>
              </a:ext>
            </a:extLst>
          </p:cNvPr>
          <p:cNvSpPr>
            <a:spLocks noChangeShapeType="1"/>
          </p:cNvSpPr>
          <p:nvPr/>
        </p:nvSpPr>
        <p:spPr bwMode="auto">
          <a:xfrm>
            <a:off x="3607567" y="1944972"/>
            <a:ext cx="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" name="Line 157">
            <a:extLst>
              <a:ext uri="{FF2B5EF4-FFF2-40B4-BE49-F238E27FC236}">
                <a16:creationId xmlns:a16="http://schemas.microsoft.com/office/drawing/2014/main" id="{49E5C779-EEC1-4F9D-812F-6E9BD8E28185}"/>
              </a:ext>
            </a:extLst>
          </p:cNvPr>
          <p:cNvSpPr>
            <a:spLocks noChangeShapeType="1"/>
          </p:cNvSpPr>
          <p:nvPr/>
        </p:nvSpPr>
        <p:spPr bwMode="auto">
          <a:xfrm>
            <a:off x="3607567" y="1944972"/>
            <a:ext cx="0" cy="0"/>
          </a:xfrm>
          <a:prstGeom prst="line">
            <a:avLst/>
          </a:prstGeom>
          <a:noFill/>
          <a:ln w="92075" cap="flat">
            <a:solidFill>
              <a:srgbClr val="4BA1D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" name="Rectangle 158">
            <a:extLst>
              <a:ext uri="{FF2B5EF4-FFF2-40B4-BE49-F238E27FC236}">
                <a16:creationId xmlns:a16="http://schemas.microsoft.com/office/drawing/2014/main" id="{F60CFC68-CD59-4E25-BC78-74A924AF07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4774" y="1876604"/>
            <a:ext cx="35870" cy="30739"/>
          </a:xfrm>
          <a:prstGeom prst="rect">
            <a:avLst/>
          </a:prstGeom>
          <a:solidFill>
            <a:srgbClr val="1A9CBC"/>
          </a:solidFill>
          <a:ln>
            <a:solidFill>
              <a:srgbClr val="4BA1D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" name="Rectangle 159">
            <a:extLst>
              <a:ext uri="{FF2B5EF4-FFF2-40B4-BE49-F238E27FC236}">
                <a16:creationId xmlns:a16="http://schemas.microsoft.com/office/drawing/2014/main" id="{D62A1008-C8DF-4377-858C-44C54E72E6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4375" y="1876604"/>
            <a:ext cx="35870" cy="30739"/>
          </a:xfrm>
          <a:prstGeom prst="rect">
            <a:avLst/>
          </a:prstGeom>
          <a:solidFill>
            <a:srgbClr val="1A9CBC"/>
          </a:solidFill>
          <a:ln>
            <a:solidFill>
              <a:srgbClr val="4BA1D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" name="Rectangle 160">
            <a:extLst>
              <a:ext uri="{FF2B5EF4-FFF2-40B4-BE49-F238E27FC236}">
                <a16:creationId xmlns:a16="http://schemas.microsoft.com/office/drawing/2014/main" id="{F8EA594F-4C59-44BE-9B4E-0527DA5BAA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3586" y="1876604"/>
            <a:ext cx="35870" cy="30739"/>
          </a:xfrm>
          <a:prstGeom prst="rect">
            <a:avLst/>
          </a:prstGeom>
          <a:solidFill>
            <a:srgbClr val="1A9CBC"/>
          </a:solidFill>
          <a:ln>
            <a:solidFill>
              <a:srgbClr val="4BA1D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" name="Rectangle 161">
            <a:extLst>
              <a:ext uri="{FF2B5EF4-FFF2-40B4-BE49-F238E27FC236}">
                <a16:creationId xmlns:a16="http://schemas.microsoft.com/office/drawing/2014/main" id="{A0C2F788-A5ED-4117-8096-FFC77377F6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3501" y="1876604"/>
            <a:ext cx="35870" cy="30739"/>
          </a:xfrm>
          <a:prstGeom prst="rect">
            <a:avLst/>
          </a:prstGeom>
          <a:solidFill>
            <a:srgbClr val="1A9CBC"/>
          </a:solidFill>
          <a:ln>
            <a:solidFill>
              <a:srgbClr val="4BA1D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" name="Rectangle 162">
            <a:extLst>
              <a:ext uri="{FF2B5EF4-FFF2-40B4-BE49-F238E27FC236}">
                <a16:creationId xmlns:a16="http://schemas.microsoft.com/office/drawing/2014/main" id="{7E440BDF-9220-412E-B74E-FBAAC3C01E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42311" y="1876604"/>
            <a:ext cx="35870" cy="30739"/>
          </a:xfrm>
          <a:prstGeom prst="rect">
            <a:avLst/>
          </a:prstGeom>
          <a:solidFill>
            <a:srgbClr val="1A9CBC"/>
          </a:solidFill>
          <a:ln>
            <a:solidFill>
              <a:srgbClr val="4BA1D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" name="Rectangle 163">
            <a:extLst>
              <a:ext uri="{FF2B5EF4-FFF2-40B4-BE49-F238E27FC236}">
                <a16:creationId xmlns:a16="http://schemas.microsoft.com/office/drawing/2014/main" id="{E663177B-8A43-42EC-82E0-9D4AF1870B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1674" y="1876604"/>
            <a:ext cx="35318" cy="30739"/>
          </a:xfrm>
          <a:prstGeom prst="rect">
            <a:avLst/>
          </a:prstGeom>
          <a:solidFill>
            <a:srgbClr val="1A9CBC"/>
          </a:solidFill>
          <a:ln>
            <a:solidFill>
              <a:srgbClr val="4BA1D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" name="Rectangle 164">
            <a:extLst>
              <a:ext uri="{FF2B5EF4-FFF2-40B4-BE49-F238E27FC236}">
                <a16:creationId xmlns:a16="http://schemas.microsoft.com/office/drawing/2014/main" id="{E958656E-3D32-4F49-A56F-5B3D593EAB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0487" y="1876604"/>
            <a:ext cx="35318" cy="30739"/>
          </a:xfrm>
          <a:prstGeom prst="rect">
            <a:avLst/>
          </a:prstGeom>
          <a:solidFill>
            <a:srgbClr val="1A9CBC"/>
          </a:solidFill>
          <a:ln>
            <a:solidFill>
              <a:srgbClr val="4BA1D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" name="Rectangle 165">
            <a:extLst>
              <a:ext uri="{FF2B5EF4-FFF2-40B4-BE49-F238E27FC236}">
                <a16:creationId xmlns:a16="http://schemas.microsoft.com/office/drawing/2014/main" id="{C041E140-9B14-423C-B56E-D02A4AFC85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9297" y="1876604"/>
            <a:ext cx="35318" cy="30739"/>
          </a:xfrm>
          <a:prstGeom prst="rect">
            <a:avLst/>
          </a:prstGeom>
          <a:solidFill>
            <a:srgbClr val="1A9CBC"/>
          </a:solidFill>
          <a:ln>
            <a:solidFill>
              <a:srgbClr val="4BA1D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2" name="Rectangle 166">
            <a:extLst>
              <a:ext uri="{FF2B5EF4-FFF2-40B4-BE49-F238E27FC236}">
                <a16:creationId xmlns:a16="http://schemas.microsoft.com/office/drawing/2014/main" id="{5713C295-92CA-4526-8ED6-142639690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9212" y="1876604"/>
            <a:ext cx="34214" cy="30739"/>
          </a:xfrm>
          <a:prstGeom prst="rect">
            <a:avLst/>
          </a:prstGeom>
          <a:solidFill>
            <a:srgbClr val="1A9CBC"/>
          </a:solidFill>
          <a:ln>
            <a:solidFill>
              <a:srgbClr val="4BA1D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5" name="Freeform 169">
            <a:extLst>
              <a:ext uri="{FF2B5EF4-FFF2-40B4-BE49-F238E27FC236}">
                <a16:creationId xmlns:a16="http://schemas.microsoft.com/office/drawing/2014/main" id="{56CB2FBF-B375-4EF8-B38D-374569497852}"/>
              </a:ext>
            </a:extLst>
          </p:cNvPr>
          <p:cNvSpPr>
            <a:spLocks noEditPoints="1"/>
          </p:cNvSpPr>
          <p:nvPr/>
        </p:nvSpPr>
        <p:spPr bwMode="auto">
          <a:xfrm>
            <a:off x="3797956" y="1877664"/>
            <a:ext cx="7175" cy="6889"/>
          </a:xfrm>
          <a:custGeom>
            <a:avLst/>
            <a:gdLst>
              <a:gd name="T0" fmla="*/ 3 w 6"/>
              <a:gd name="T1" fmla="*/ 6 h 6"/>
              <a:gd name="T2" fmla="*/ 0 w 6"/>
              <a:gd name="T3" fmla="*/ 3 h 6"/>
              <a:gd name="T4" fmla="*/ 3 w 6"/>
              <a:gd name="T5" fmla="*/ 0 h 6"/>
              <a:gd name="T6" fmla="*/ 6 w 6"/>
              <a:gd name="T7" fmla="*/ 3 h 6"/>
              <a:gd name="T8" fmla="*/ 3 w 6"/>
              <a:gd name="T9" fmla="*/ 6 h 6"/>
              <a:gd name="T10" fmla="*/ 3 w 6"/>
              <a:gd name="T11" fmla="*/ 6 h 6"/>
              <a:gd name="T12" fmla="*/ 3 w 6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6">
                <a:moveTo>
                  <a:pt x="3" y="6"/>
                </a:moveTo>
                <a:cubicBezTo>
                  <a:pt x="1" y="6"/>
                  <a:pt x="0" y="5"/>
                  <a:pt x="0" y="3"/>
                </a:cubicBezTo>
                <a:cubicBezTo>
                  <a:pt x="0" y="1"/>
                  <a:pt x="2" y="0"/>
                  <a:pt x="3" y="0"/>
                </a:cubicBezTo>
                <a:cubicBezTo>
                  <a:pt x="5" y="0"/>
                  <a:pt x="6" y="2"/>
                  <a:pt x="6" y="3"/>
                </a:cubicBezTo>
                <a:cubicBezTo>
                  <a:pt x="6" y="5"/>
                  <a:pt x="4" y="6"/>
                  <a:pt x="3" y="6"/>
                </a:cubicBezTo>
                <a:close/>
                <a:moveTo>
                  <a:pt x="3" y="6"/>
                </a:moveTo>
                <a:cubicBezTo>
                  <a:pt x="3" y="6"/>
                  <a:pt x="3" y="6"/>
                  <a:pt x="3" y="6"/>
                </a:cubicBezTo>
              </a:path>
            </a:pathLst>
          </a:custGeom>
          <a:solidFill>
            <a:srgbClr val="FFFFFF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839C0AEA-9FA3-4FE6-A2D5-1CA6D84E112F}"/>
              </a:ext>
            </a:extLst>
          </p:cNvPr>
          <p:cNvSpPr txBox="1"/>
          <p:nvPr/>
        </p:nvSpPr>
        <p:spPr>
          <a:xfrm>
            <a:off x="3603183" y="1961467"/>
            <a:ext cx="106271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b="1" dirty="0">
                <a:solidFill>
                  <a:srgbClr val="2B7BA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0%</a:t>
            </a:r>
          </a:p>
          <a:p>
            <a:pPr algn="ctr"/>
            <a:r>
              <a:rPr lang="en-US" sz="900" dirty="0">
                <a:solidFill>
                  <a:srgbClr val="2B7BA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 smartphone users use their device to </a:t>
            </a:r>
          </a:p>
          <a:p>
            <a:pPr algn="ctr"/>
            <a:r>
              <a:rPr lang="en-US" sz="1000" b="1" dirty="0">
                <a:solidFill>
                  <a:srgbClr val="2B7BA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D</a:t>
            </a:r>
            <a:r>
              <a:rPr lang="en-US" sz="1000" dirty="0">
                <a:solidFill>
                  <a:srgbClr val="2B7BA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r </a:t>
            </a:r>
            <a:r>
              <a:rPr lang="en-US" sz="1000" b="1" dirty="0">
                <a:solidFill>
                  <a:srgbClr val="2B7BA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EEM</a:t>
            </a:r>
            <a:r>
              <a:rPr lang="en-US" sz="1000" dirty="0">
                <a:solidFill>
                  <a:srgbClr val="2B7BA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00" b="1" dirty="0">
                <a:solidFill>
                  <a:srgbClr val="2B7BA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PONS</a:t>
            </a:r>
            <a:endParaRPr lang="en-US" sz="3200" b="1" dirty="0">
              <a:solidFill>
                <a:srgbClr val="2B7BA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C65D41D-6AF3-4638-B365-826615760009}"/>
              </a:ext>
            </a:extLst>
          </p:cNvPr>
          <p:cNvGrpSpPr/>
          <p:nvPr/>
        </p:nvGrpSpPr>
        <p:grpSpPr>
          <a:xfrm rot="21066156">
            <a:off x="3585792" y="1782892"/>
            <a:ext cx="245725" cy="192383"/>
            <a:chOff x="2784918" y="1774318"/>
            <a:chExt cx="356597" cy="192383"/>
          </a:xfrm>
          <a:solidFill>
            <a:srgbClr val="4BA1D1"/>
          </a:solidFill>
        </p:grpSpPr>
        <p:sp>
          <p:nvSpPr>
            <p:cNvPr id="243" name="Freeform 167">
              <a:extLst>
                <a:ext uri="{FF2B5EF4-FFF2-40B4-BE49-F238E27FC236}">
                  <a16:creationId xmlns:a16="http://schemas.microsoft.com/office/drawing/2014/main" id="{1E7AE279-5CE7-4856-ACBF-98DA10C846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9199" y="1774318"/>
              <a:ext cx="288607" cy="192383"/>
            </a:xfrm>
            <a:custGeom>
              <a:avLst/>
              <a:gdLst>
                <a:gd name="T0" fmla="*/ 45 w 200"/>
                <a:gd name="T1" fmla="*/ 15 h 175"/>
                <a:gd name="T2" fmla="*/ 54 w 200"/>
                <a:gd name="T3" fmla="*/ 43 h 175"/>
                <a:gd name="T4" fmla="*/ 25 w 200"/>
                <a:gd name="T5" fmla="*/ 44 h 175"/>
                <a:gd name="T6" fmla="*/ 17 w 200"/>
                <a:gd name="T7" fmla="*/ 17 h 175"/>
                <a:gd name="T8" fmla="*/ 27 w 200"/>
                <a:gd name="T9" fmla="*/ 11 h 175"/>
                <a:gd name="T10" fmla="*/ 45 w 200"/>
                <a:gd name="T11" fmla="*/ 15 h 175"/>
                <a:gd name="T12" fmla="*/ 98 w 200"/>
                <a:gd name="T13" fmla="*/ 108 h 175"/>
                <a:gd name="T14" fmla="*/ 165 w 200"/>
                <a:gd name="T15" fmla="*/ 157 h 175"/>
                <a:gd name="T16" fmla="*/ 200 w 200"/>
                <a:gd name="T17" fmla="*/ 172 h 175"/>
                <a:gd name="T18" fmla="*/ 104 w 200"/>
                <a:gd name="T19" fmla="*/ 85 h 175"/>
                <a:gd name="T20" fmla="*/ 74 w 200"/>
                <a:gd name="T21" fmla="*/ 56 h 175"/>
                <a:gd name="T22" fmla="*/ 65 w 200"/>
                <a:gd name="T23" fmla="*/ 28 h 175"/>
                <a:gd name="T24" fmla="*/ 51 w 200"/>
                <a:gd name="T25" fmla="*/ 7 h 175"/>
                <a:gd name="T26" fmla="*/ 25 w 200"/>
                <a:gd name="T27" fmla="*/ 1 h 175"/>
                <a:gd name="T28" fmla="*/ 9 w 200"/>
                <a:gd name="T29" fmla="*/ 12 h 175"/>
                <a:gd name="T30" fmla="*/ 20 w 200"/>
                <a:gd name="T31" fmla="*/ 52 h 175"/>
                <a:gd name="T32" fmla="*/ 66 w 200"/>
                <a:gd name="T33" fmla="*/ 70 h 175"/>
                <a:gd name="T34" fmla="*/ 84 w 200"/>
                <a:gd name="T35" fmla="*/ 91 h 175"/>
                <a:gd name="T36" fmla="*/ 98 w 200"/>
                <a:gd name="T37" fmla="*/ 108 h 175"/>
                <a:gd name="T38" fmla="*/ 98 w 200"/>
                <a:gd name="T39" fmla="*/ 108 h 175"/>
                <a:gd name="T40" fmla="*/ 98 w 200"/>
                <a:gd name="T41" fmla="*/ 10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0" h="175">
                  <a:moveTo>
                    <a:pt x="45" y="15"/>
                  </a:moveTo>
                  <a:cubicBezTo>
                    <a:pt x="56" y="22"/>
                    <a:pt x="59" y="35"/>
                    <a:pt x="54" y="43"/>
                  </a:cubicBezTo>
                  <a:cubicBezTo>
                    <a:pt x="48" y="51"/>
                    <a:pt x="36" y="51"/>
                    <a:pt x="25" y="44"/>
                  </a:cubicBezTo>
                  <a:cubicBezTo>
                    <a:pt x="15" y="37"/>
                    <a:pt x="11" y="25"/>
                    <a:pt x="17" y="17"/>
                  </a:cubicBezTo>
                  <a:cubicBezTo>
                    <a:pt x="19" y="14"/>
                    <a:pt x="22" y="12"/>
                    <a:pt x="27" y="11"/>
                  </a:cubicBezTo>
                  <a:cubicBezTo>
                    <a:pt x="33" y="10"/>
                    <a:pt x="40" y="11"/>
                    <a:pt x="45" y="15"/>
                  </a:cubicBezTo>
                  <a:close/>
                  <a:moveTo>
                    <a:pt x="98" y="108"/>
                  </a:moveTo>
                  <a:cubicBezTo>
                    <a:pt x="105" y="113"/>
                    <a:pt x="139" y="141"/>
                    <a:pt x="165" y="157"/>
                  </a:cubicBezTo>
                  <a:cubicBezTo>
                    <a:pt x="193" y="175"/>
                    <a:pt x="199" y="175"/>
                    <a:pt x="200" y="172"/>
                  </a:cubicBezTo>
                  <a:cubicBezTo>
                    <a:pt x="104" y="85"/>
                    <a:pt x="104" y="85"/>
                    <a:pt x="104" y="85"/>
                  </a:cubicBezTo>
                  <a:cubicBezTo>
                    <a:pt x="84" y="67"/>
                    <a:pt x="81" y="71"/>
                    <a:pt x="74" y="56"/>
                  </a:cubicBezTo>
                  <a:cubicBezTo>
                    <a:pt x="70" y="47"/>
                    <a:pt x="68" y="35"/>
                    <a:pt x="65" y="28"/>
                  </a:cubicBezTo>
                  <a:cubicBezTo>
                    <a:pt x="63" y="20"/>
                    <a:pt x="58" y="13"/>
                    <a:pt x="51" y="7"/>
                  </a:cubicBezTo>
                  <a:cubicBezTo>
                    <a:pt x="43" y="2"/>
                    <a:pt x="34" y="0"/>
                    <a:pt x="25" y="1"/>
                  </a:cubicBezTo>
                  <a:cubicBezTo>
                    <a:pt x="18" y="3"/>
                    <a:pt x="12" y="6"/>
                    <a:pt x="9" y="12"/>
                  </a:cubicBezTo>
                  <a:cubicBezTo>
                    <a:pt x="0" y="24"/>
                    <a:pt x="6" y="41"/>
                    <a:pt x="20" y="52"/>
                  </a:cubicBezTo>
                  <a:cubicBezTo>
                    <a:pt x="29" y="59"/>
                    <a:pt x="57" y="65"/>
                    <a:pt x="66" y="70"/>
                  </a:cubicBezTo>
                  <a:cubicBezTo>
                    <a:pt x="72" y="74"/>
                    <a:pt x="79" y="83"/>
                    <a:pt x="84" y="91"/>
                  </a:cubicBezTo>
                  <a:cubicBezTo>
                    <a:pt x="87" y="97"/>
                    <a:pt x="91" y="102"/>
                    <a:pt x="98" y="108"/>
                  </a:cubicBezTo>
                  <a:close/>
                  <a:moveTo>
                    <a:pt x="98" y="108"/>
                  </a:moveTo>
                  <a:cubicBezTo>
                    <a:pt x="98" y="108"/>
                    <a:pt x="98" y="108"/>
                    <a:pt x="98" y="108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4" name="Freeform 168">
              <a:extLst>
                <a:ext uri="{FF2B5EF4-FFF2-40B4-BE49-F238E27FC236}">
                  <a16:creationId xmlns:a16="http://schemas.microsoft.com/office/drawing/2014/main" id="{55D9232D-2610-43FB-8ECA-ED600E6583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4918" y="1852225"/>
              <a:ext cx="356597" cy="89567"/>
            </a:xfrm>
            <a:custGeom>
              <a:avLst/>
              <a:gdLst>
                <a:gd name="T0" fmla="*/ 18 w 247"/>
                <a:gd name="T1" fmla="*/ 66 h 81"/>
                <a:gd name="T2" fmla="*/ 12 w 247"/>
                <a:gd name="T3" fmla="*/ 56 h 81"/>
                <a:gd name="T4" fmla="*/ 32 w 247"/>
                <a:gd name="T5" fmla="*/ 36 h 81"/>
                <a:gd name="T6" fmla="*/ 57 w 247"/>
                <a:gd name="T7" fmla="*/ 51 h 81"/>
                <a:gd name="T8" fmla="*/ 36 w 247"/>
                <a:gd name="T9" fmla="*/ 71 h 81"/>
                <a:gd name="T10" fmla="*/ 18 w 247"/>
                <a:gd name="T11" fmla="*/ 66 h 81"/>
                <a:gd name="T12" fmla="*/ 106 w 247"/>
                <a:gd name="T13" fmla="*/ 22 h 81"/>
                <a:gd name="T14" fmla="*/ 81 w 247"/>
                <a:gd name="T15" fmla="*/ 32 h 81"/>
                <a:gd name="T16" fmla="*/ 31 w 247"/>
                <a:gd name="T17" fmla="*/ 26 h 81"/>
                <a:gd name="T18" fmla="*/ 2 w 247"/>
                <a:gd name="T19" fmla="*/ 57 h 81"/>
                <a:gd name="T20" fmla="*/ 12 w 247"/>
                <a:gd name="T21" fmla="*/ 73 h 81"/>
                <a:gd name="T22" fmla="*/ 37 w 247"/>
                <a:gd name="T23" fmla="*/ 80 h 81"/>
                <a:gd name="T24" fmla="*/ 60 w 247"/>
                <a:gd name="T25" fmla="*/ 69 h 81"/>
                <a:gd name="T26" fmla="*/ 81 w 247"/>
                <a:gd name="T27" fmla="*/ 48 h 81"/>
                <a:gd name="T28" fmla="*/ 121 w 247"/>
                <a:gd name="T29" fmla="*/ 37 h 81"/>
                <a:gd name="T30" fmla="*/ 246 w 247"/>
                <a:gd name="T31" fmla="*/ 6 h 81"/>
                <a:gd name="T32" fmla="*/ 208 w 247"/>
                <a:gd name="T33" fmla="*/ 2 h 81"/>
                <a:gd name="T34" fmla="*/ 126 w 247"/>
                <a:gd name="T35" fmla="*/ 14 h 81"/>
                <a:gd name="T36" fmla="*/ 106 w 247"/>
                <a:gd name="T37" fmla="*/ 22 h 81"/>
                <a:gd name="T38" fmla="*/ 106 w 247"/>
                <a:gd name="T39" fmla="*/ 22 h 81"/>
                <a:gd name="T40" fmla="*/ 106 w 247"/>
                <a:gd name="T41" fmla="*/ 22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7" h="81">
                  <a:moveTo>
                    <a:pt x="18" y="66"/>
                  </a:moveTo>
                  <a:cubicBezTo>
                    <a:pt x="14" y="63"/>
                    <a:pt x="12" y="60"/>
                    <a:pt x="12" y="56"/>
                  </a:cubicBezTo>
                  <a:cubicBezTo>
                    <a:pt x="11" y="46"/>
                    <a:pt x="20" y="37"/>
                    <a:pt x="32" y="36"/>
                  </a:cubicBezTo>
                  <a:cubicBezTo>
                    <a:pt x="44" y="34"/>
                    <a:pt x="55" y="41"/>
                    <a:pt x="57" y="51"/>
                  </a:cubicBezTo>
                  <a:cubicBezTo>
                    <a:pt x="58" y="60"/>
                    <a:pt x="48" y="69"/>
                    <a:pt x="36" y="71"/>
                  </a:cubicBezTo>
                  <a:cubicBezTo>
                    <a:pt x="29" y="72"/>
                    <a:pt x="22" y="70"/>
                    <a:pt x="18" y="66"/>
                  </a:cubicBezTo>
                  <a:close/>
                  <a:moveTo>
                    <a:pt x="106" y="22"/>
                  </a:moveTo>
                  <a:cubicBezTo>
                    <a:pt x="98" y="27"/>
                    <a:pt x="88" y="32"/>
                    <a:pt x="81" y="32"/>
                  </a:cubicBezTo>
                  <a:cubicBezTo>
                    <a:pt x="70" y="33"/>
                    <a:pt x="42" y="24"/>
                    <a:pt x="31" y="26"/>
                  </a:cubicBezTo>
                  <a:cubicBezTo>
                    <a:pt x="14" y="29"/>
                    <a:pt x="0" y="42"/>
                    <a:pt x="2" y="57"/>
                  </a:cubicBezTo>
                  <a:cubicBezTo>
                    <a:pt x="3" y="63"/>
                    <a:pt x="6" y="69"/>
                    <a:pt x="12" y="73"/>
                  </a:cubicBezTo>
                  <a:cubicBezTo>
                    <a:pt x="18" y="79"/>
                    <a:pt x="28" y="81"/>
                    <a:pt x="37" y="80"/>
                  </a:cubicBezTo>
                  <a:cubicBezTo>
                    <a:pt x="46" y="79"/>
                    <a:pt x="54" y="75"/>
                    <a:pt x="60" y="69"/>
                  </a:cubicBezTo>
                  <a:cubicBezTo>
                    <a:pt x="65" y="64"/>
                    <a:pt x="73" y="55"/>
                    <a:pt x="81" y="48"/>
                  </a:cubicBezTo>
                  <a:cubicBezTo>
                    <a:pt x="93" y="38"/>
                    <a:pt x="94" y="44"/>
                    <a:pt x="121" y="37"/>
                  </a:cubicBezTo>
                  <a:cubicBezTo>
                    <a:pt x="246" y="6"/>
                    <a:pt x="246" y="6"/>
                    <a:pt x="246" y="6"/>
                  </a:cubicBezTo>
                  <a:cubicBezTo>
                    <a:pt x="247" y="3"/>
                    <a:pt x="242" y="0"/>
                    <a:pt x="208" y="2"/>
                  </a:cubicBezTo>
                  <a:cubicBezTo>
                    <a:pt x="178" y="4"/>
                    <a:pt x="135" y="13"/>
                    <a:pt x="126" y="14"/>
                  </a:cubicBezTo>
                  <a:cubicBezTo>
                    <a:pt x="117" y="16"/>
                    <a:pt x="112" y="19"/>
                    <a:pt x="106" y="22"/>
                  </a:cubicBezTo>
                  <a:close/>
                  <a:moveTo>
                    <a:pt x="106" y="22"/>
                  </a:moveTo>
                  <a:cubicBezTo>
                    <a:pt x="106" y="22"/>
                    <a:pt x="106" y="22"/>
                    <a:pt x="106" y="2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AABAD0D8-324A-48DE-9CA8-9A46FBBEC2A6}"/>
              </a:ext>
            </a:extLst>
          </p:cNvPr>
          <p:cNvSpPr txBox="1"/>
          <p:nvPr/>
        </p:nvSpPr>
        <p:spPr>
          <a:xfrm>
            <a:off x="2029934" y="4645002"/>
            <a:ext cx="23349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dirty="0">
                <a:latin typeface="Calibri" panose="020F0502020204030204" pitchFamily="34" charset="0"/>
                <a:cs typeface="Calibri" panose="020F0502020204030204" pitchFamily="34" charset="0"/>
              </a:rPr>
              <a:t>35</a:t>
            </a: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87B75EF5-52FE-43CE-B535-E8C1A7689CC7}"/>
              </a:ext>
            </a:extLst>
          </p:cNvPr>
          <p:cNvSpPr txBox="1"/>
          <p:nvPr/>
        </p:nvSpPr>
        <p:spPr>
          <a:xfrm>
            <a:off x="3210871" y="6170751"/>
            <a:ext cx="62328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y</a:t>
            </a:r>
          </a:p>
        </p:txBody>
      </p:sp>
      <p:pic>
        <p:nvPicPr>
          <p:cNvPr id="265" name="Picture 264"/>
          <p:cNvPicPr>
            <a:picLocks noChangeAspect="1"/>
          </p:cNvPicPr>
          <p:nvPr/>
        </p:nvPicPr>
        <p:blipFill>
          <a:blip r:embed="rId13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9842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2321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3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AEDFB1D6-69FA-41A4-B8B4-9BDDF412734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4609BD-D6DF-4759-BA04-0C0AC752AE9E}"/>
              </a:ext>
            </a:extLst>
          </p:cNvPr>
          <p:cNvPicPr>
            <a:picLocks/>
          </p:cNvPicPr>
          <p:nvPr/>
        </p:nvPicPr>
        <p:blipFill rotWithShape="1">
          <a:blip r:embed="rId8">
            <a:grayscl/>
            <a:extLst/>
          </a:blip>
          <a:srcRect t="16007" b="8981"/>
          <a:stretch/>
        </p:blipFill>
        <p:spPr>
          <a:xfrm>
            <a:off x="0" y="0"/>
            <a:ext cx="1218995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7C1A0170-8DCD-44F5-97E3-9A747657AD1F}"/>
              </a:ext>
            </a:extLst>
          </p:cNvPr>
          <p:cNvSpPr/>
          <p:nvPr/>
        </p:nvSpPr>
        <p:spPr>
          <a:xfrm>
            <a:off x="0" y="0"/>
            <a:ext cx="12188825" cy="6870699"/>
          </a:xfrm>
          <a:prstGeom prst="rect">
            <a:avLst/>
          </a:prstGeom>
          <a:solidFill>
            <a:schemeClr val="tx1">
              <a:lumMod val="50000"/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7" name="Freeform 96"/>
          <p:cNvSpPr/>
          <p:nvPr/>
        </p:nvSpPr>
        <p:spPr>
          <a:xfrm>
            <a:off x="-5875" y="-1"/>
            <a:ext cx="11283475" cy="6929463"/>
          </a:xfrm>
          <a:custGeom>
            <a:avLst/>
            <a:gdLst>
              <a:gd name="connsiteX0" fmla="*/ 0 w 11327363"/>
              <a:gd name="connsiteY0" fmla="*/ 0 h 6960637"/>
              <a:gd name="connsiteX1" fmla="*/ 0 w 11327363"/>
              <a:gd name="connsiteY1" fmla="*/ 6960637 h 6960637"/>
              <a:gd name="connsiteX2" fmla="*/ 8378890 w 11327363"/>
              <a:gd name="connsiteY2" fmla="*/ 6923314 h 6960637"/>
              <a:gd name="connsiteX3" fmla="*/ 11327363 w 11327363"/>
              <a:gd name="connsiteY3" fmla="*/ 18661 h 6960637"/>
              <a:gd name="connsiteX4" fmla="*/ 0 w 11327363"/>
              <a:gd name="connsiteY4" fmla="*/ 0 h 6960637"/>
              <a:gd name="connsiteX0" fmla="*/ 0 w 11327363"/>
              <a:gd name="connsiteY0" fmla="*/ 0 h 6961590"/>
              <a:gd name="connsiteX1" fmla="*/ 0 w 11327363"/>
              <a:gd name="connsiteY1" fmla="*/ 6960637 h 6961590"/>
              <a:gd name="connsiteX2" fmla="*/ 8353391 w 11327363"/>
              <a:gd name="connsiteY2" fmla="*/ 6961590 h 6961590"/>
              <a:gd name="connsiteX3" fmla="*/ 11327363 w 11327363"/>
              <a:gd name="connsiteY3" fmla="*/ 18661 h 6961590"/>
              <a:gd name="connsiteX4" fmla="*/ 0 w 11327363"/>
              <a:gd name="connsiteY4" fmla="*/ 0 h 6961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27363" h="6961590">
                <a:moveTo>
                  <a:pt x="0" y="0"/>
                </a:moveTo>
                <a:lnTo>
                  <a:pt x="0" y="6960637"/>
                </a:lnTo>
                <a:lnTo>
                  <a:pt x="8353391" y="6961590"/>
                </a:lnTo>
                <a:lnTo>
                  <a:pt x="11327363" y="18661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A270A67-6AF1-4EDB-8CA7-0EB8A9421B40}"/>
              </a:ext>
            </a:extLst>
          </p:cNvPr>
          <p:cNvSpPr txBox="1"/>
          <p:nvPr/>
        </p:nvSpPr>
        <p:spPr>
          <a:xfrm>
            <a:off x="293379" y="557831"/>
            <a:ext cx="10772823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US" sz="3200" b="1" dirty="0">
                <a:latin typeface="Calibri" panose="020F0502020204030204" pitchFamily="34" charset="0"/>
                <a:cs typeface="Calibri" panose="020F0502020204030204" pitchFamily="34" charset="0"/>
              </a:rPr>
              <a:t>The Internet Minute in 2017</a:t>
            </a:r>
          </a:p>
        </p:txBody>
      </p:sp>
      <p:sp>
        <p:nvSpPr>
          <p:cNvPr id="58" name="Parallelogram 57">
            <a:extLst>
              <a:ext uri="{FF2B5EF4-FFF2-40B4-BE49-F238E27FC236}">
                <a16:creationId xmlns:a16="http://schemas.microsoft.com/office/drawing/2014/main" id="{084C56B0-C6B6-499D-9263-F2E2574A7CF5}"/>
              </a:ext>
            </a:extLst>
          </p:cNvPr>
          <p:cNvSpPr>
            <a:spLocks/>
          </p:cNvSpPr>
          <p:nvPr/>
        </p:nvSpPr>
        <p:spPr>
          <a:xfrm>
            <a:off x="-562826" y="301819"/>
            <a:ext cx="10926025" cy="1004467"/>
          </a:xfrm>
          <a:prstGeom prst="parallelogram">
            <a:avLst>
              <a:gd name="adj" fmla="val 42902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>
              <a:solidFill>
                <a:srgbClr val="FFFFFF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A139346-732C-49FD-BF7E-9CFEEE43E4F5}"/>
              </a:ext>
            </a:extLst>
          </p:cNvPr>
          <p:cNvGrpSpPr/>
          <p:nvPr/>
        </p:nvGrpSpPr>
        <p:grpSpPr>
          <a:xfrm>
            <a:off x="3476625" y="1503261"/>
            <a:ext cx="5235575" cy="5229225"/>
            <a:chOff x="850797" y="1503261"/>
            <a:chExt cx="5235575" cy="5229225"/>
          </a:xfrm>
        </p:grpSpPr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6889E3E5-5722-49BB-90BA-24E725658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584" y="1503261"/>
              <a:ext cx="1017588" cy="2614613"/>
            </a:xfrm>
            <a:custGeom>
              <a:avLst/>
              <a:gdLst>
                <a:gd name="T0" fmla="*/ 103 w 103"/>
                <a:gd name="T1" fmla="*/ 21 h 265"/>
                <a:gd name="T2" fmla="*/ 0 w 103"/>
                <a:gd name="T3" fmla="*/ 0 h 265"/>
                <a:gd name="T4" fmla="*/ 0 w 103"/>
                <a:gd name="T5" fmla="*/ 265 h 265"/>
                <a:gd name="T6" fmla="*/ 103 w 103"/>
                <a:gd name="T7" fmla="*/ 21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3" h="265">
                  <a:moveTo>
                    <a:pt x="103" y="21"/>
                  </a:moveTo>
                  <a:cubicBezTo>
                    <a:pt x="71" y="7"/>
                    <a:pt x="35" y="0"/>
                    <a:pt x="0" y="0"/>
                  </a:cubicBezTo>
                  <a:lnTo>
                    <a:pt x="0" y="265"/>
                  </a:lnTo>
                  <a:lnTo>
                    <a:pt x="103" y="21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15CCB4E8-6B5D-4261-9AC9-535771986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584" y="1711223"/>
              <a:ext cx="1847850" cy="2406650"/>
            </a:xfrm>
            <a:custGeom>
              <a:avLst/>
              <a:gdLst>
                <a:gd name="T0" fmla="*/ 187 w 187"/>
                <a:gd name="T1" fmla="*/ 56 h 244"/>
                <a:gd name="T2" fmla="*/ 103 w 187"/>
                <a:gd name="T3" fmla="*/ 0 h 244"/>
                <a:gd name="T4" fmla="*/ 0 w 187"/>
                <a:gd name="T5" fmla="*/ 244 h 244"/>
                <a:gd name="T6" fmla="*/ 187 w 187"/>
                <a:gd name="T7" fmla="*/ 56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7" h="244">
                  <a:moveTo>
                    <a:pt x="187" y="56"/>
                  </a:moveTo>
                  <a:cubicBezTo>
                    <a:pt x="163" y="32"/>
                    <a:pt x="135" y="13"/>
                    <a:pt x="103" y="0"/>
                  </a:cubicBezTo>
                  <a:lnTo>
                    <a:pt x="0" y="244"/>
                  </a:lnTo>
                  <a:lnTo>
                    <a:pt x="187" y="56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6728D14E-D45F-4AA2-97A2-5180D50EF1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584" y="2263673"/>
              <a:ext cx="2420938" cy="1854200"/>
            </a:xfrm>
            <a:custGeom>
              <a:avLst/>
              <a:gdLst>
                <a:gd name="T0" fmla="*/ 245 w 245"/>
                <a:gd name="T1" fmla="*/ 89 h 188"/>
                <a:gd name="T2" fmla="*/ 187 w 245"/>
                <a:gd name="T3" fmla="*/ 0 h 188"/>
                <a:gd name="T4" fmla="*/ 0 w 245"/>
                <a:gd name="T5" fmla="*/ 188 h 188"/>
                <a:gd name="T6" fmla="*/ 245 w 245"/>
                <a:gd name="T7" fmla="*/ 89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5" h="188">
                  <a:moveTo>
                    <a:pt x="245" y="89"/>
                  </a:moveTo>
                  <a:cubicBezTo>
                    <a:pt x="232" y="55"/>
                    <a:pt x="212" y="25"/>
                    <a:pt x="187" y="0"/>
                  </a:cubicBezTo>
                  <a:lnTo>
                    <a:pt x="0" y="188"/>
                  </a:lnTo>
                  <a:lnTo>
                    <a:pt x="245" y="89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504ABD6-C8ED-45EB-9451-A4AFA1840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584" y="3141561"/>
              <a:ext cx="2617788" cy="976313"/>
            </a:xfrm>
            <a:custGeom>
              <a:avLst/>
              <a:gdLst>
                <a:gd name="T0" fmla="*/ 265 w 265"/>
                <a:gd name="T1" fmla="*/ 99 h 99"/>
                <a:gd name="T2" fmla="*/ 245 w 265"/>
                <a:gd name="T3" fmla="*/ 0 h 99"/>
                <a:gd name="T4" fmla="*/ 0 w 265"/>
                <a:gd name="T5" fmla="*/ 99 h 99"/>
                <a:gd name="T6" fmla="*/ 265 w 265"/>
                <a:gd name="T7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5" h="99">
                  <a:moveTo>
                    <a:pt x="265" y="99"/>
                  </a:moveTo>
                  <a:cubicBezTo>
                    <a:pt x="265" y="65"/>
                    <a:pt x="258" y="31"/>
                    <a:pt x="245" y="0"/>
                  </a:cubicBezTo>
                  <a:lnTo>
                    <a:pt x="0" y="99"/>
                  </a:lnTo>
                  <a:lnTo>
                    <a:pt x="265" y="99"/>
                  </a:lnTo>
                  <a:close/>
                </a:path>
              </a:pathLst>
            </a:custGeom>
            <a:solidFill>
              <a:schemeClr val="accent2">
                <a:lumMod val="75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65F5447-6385-406E-9CD1-1ABE25E31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584" y="4117873"/>
              <a:ext cx="2617788" cy="1016000"/>
            </a:xfrm>
            <a:custGeom>
              <a:avLst/>
              <a:gdLst>
                <a:gd name="T0" fmla="*/ 243 w 265"/>
                <a:gd name="T1" fmla="*/ 103 h 103"/>
                <a:gd name="T2" fmla="*/ 265 w 265"/>
                <a:gd name="T3" fmla="*/ 0 h 103"/>
                <a:gd name="T4" fmla="*/ 0 w 265"/>
                <a:gd name="T5" fmla="*/ 0 h 103"/>
                <a:gd name="T6" fmla="*/ 243 w 265"/>
                <a:gd name="T7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5" h="103">
                  <a:moveTo>
                    <a:pt x="243" y="103"/>
                  </a:moveTo>
                  <a:cubicBezTo>
                    <a:pt x="257" y="71"/>
                    <a:pt x="265" y="35"/>
                    <a:pt x="265" y="0"/>
                  </a:cubicBezTo>
                  <a:lnTo>
                    <a:pt x="0" y="0"/>
                  </a:lnTo>
                  <a:lnTo>
                    <a:pt x="243" y="103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8D942B18-820A-46D3-9036-0D33E24DC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584" y="4117873"/>
              <a:ext cx="2400300" cy="1846263"/>
            </a:xfrm>
            <a:custGeom>
              <a:avLst/>
              <a:gdLst>
                <a:gd name="T0" fmla="*/ 187 w 243"/>
                <a:gd name="T1" fmla="*/ 187 h 187"/>
                <a:gd name="T2" fmla="*/ 243 w 243"/>
                <a:gd name="T3" fmla="*/ 103 h 187"/>
                <a:gd name="T4" fmla="*/ 0 w 243"/>
                <a:gd name="T5" fmla="*/ 0 h 187"/>
                <a:gd name="T6" fmla="*/ 187 w 243"/>
                <a:gd name="T7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3" h="187">
                  <a:moveTo>
                    <a:pt x="187" y="187"/>
                  </a:moveTo>
                  <a:cubicBezTo>
                    <a:pt x="211" y="163"/>
                    <a:pt x="230" y="135"/>
                    <a:pt x="243" y="103"/>
                  </a:cubicBezTo>
                  <a:lnTo>
                    <a:pt x="0" y="0"/>
                  </a:lnTo>
                  <a:lnTo>
                    <a:pt x="187" y="187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44DF9C8C-597C-4362-9B71-AF398AE5DD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584" y="4117873"/>
              <a:ext cx="1847850" cy="2417763"/>
            </a:xfrm>
            <a:custGeom>
              <a:avLst/>
              <a:gdLst>
                <a:gd name="T0" fmla="*/ 98 w 187"/>
                <a:gd name="T1" fmla="*/ 245 h 245"/>
                <a:gd name="T2" fmla="*/ 187 w 187"/>
                <a:gd name="T3" fmla="*/ 187 h 245"/>
                <a:gd name="T4" fmla="*/ 0 w 187"/>
                <a:gd name="T5" fmla="*/ 0 h 245"/>
                <a:gd name="T6" fmla="*/ 98 w 187"/>
                <a:gd name="T7" fmla="*/ 24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7" h="245">
                  <a:moveTo>
                    <a:pt x="98" y="245"/>
                  </a:moveTo>
                  <a:cubicBezTo>
                    <a:pt x="132" y="232"/>
                    <a:pt x="162" y="212"/>
                    <a:pt x="187" y="187"/>
                  </a:cubicBezTo>
                  <a:lnTo>
                    <a:pt x="0" y="0"/>
                  </a:lnTo>
                  <a:lnTo>
                    <a:pt x="98" y="2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3B89C67E-F34B-480C-9255-1703CB22F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584" y="4117873"/>
              <a:ext cx="968375" cy="2614613"/>
            </a:xfrm>
            <a:custGeom>
              <a:avLst/>
              <a:gdLst>
                <a:gd name="T0" fmla="*/ 0 w 98"/>
                <a:gd name="T1" fmla="*/ 265 h 265"/>
                <a:gd name="T2" fmla="*/ 98 w 98"/>
                <a:gd name="T3" fmla="*/ 245 h 265"/>
                <a:gd name="T4" fmla="*/ 0 w 98"/>
                <a:gd name="T5" fmla="*/ 0 h 265"/>
                <a:gd name="T6" fmla="*/ 0 w 98"/>
                <a:gd name="T7" fmla="*/ 26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265">
                  <a:moveTo>
                    <a:pt x="0" y="265"/>
                  </a:moveTo>
                  <a:cubicBezTo>
                    <a:pt x="33" y="265"/>
                    <a:pt x="67" y="258"/>
                    <a:pt x="98" y="245"/>
                  </a:cubicBezTo>
                  <a:lnTo>
                    <a:pt x="0" y="0"/>
                  </a:lnTo>
                  <a:lnTo>
                    <a:pt x="0" y="265"/>
                  </a:lnTo>
                  <a:close/>
                </a:path>
              </a:pathLst>
            </a:custGeom>
            <a:solidFill>
              <a:schemeClr val="bg1">
                <a:lumMod val="65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5">
              <a:extLst>
                <a:ext uri="{FF2B5EF4-FFF2-40B4-BE49-F238E27FC236}">
                  <a16:creationId xmlns:a16="http://schemas.microsoft.com/office/drawing/2014/main" id="{50E3E17F-5B83-4934-97D2-0C2738B19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1472" y="4117873"/>
              <a:ext cx="1027113" cy="2614613"/>
            </a:xfrm>
            <a:custGeom>
              <a:avLst/>
              <a:gdLst>
                <a:gd name="T0" fmla="*/ 0 w 104"/>
                <a:gd name="T1" fmla="*/ 243 h 265"/>
                <a:gd name="T2" fmla="*/ 104 w 104"/>
                <a:gd name="T3" fmla="*/ 265 h 265"/>
                <a:gd name="T4" fmla="*/ 104 w 104"/>
                <a:gd name="T5" fmla="*/ 0 h 265"/>
                <a:gd name="T6" fmla="*/ 0 w 104"/>
                <a:gd name="T7" fmla="*/ 243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4" h="265">
                  <a:moveTo>
                    <a:pt x="0" y="243"/>
                  </a:moveTo>
                  <a:cubicBezTo>
                    <a:pt x="32" y="257"/>
                    <a:pt x="68" y="265"/>
                    <a:pt x="104" y="265"/>
                  </a:cubicBezTo>
                  <a:lnTo>
                    <a:pt x="104" y="0"/>
                  </a:lnTo>
                  <a:lnTo>
                    <a:pt x="0" y="24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6">
              <a:extLst>
                <a:ext uri="{FF2B5EF4-FFF2-40B4-BE49-F238E27FC236}">
                  <a16:creationId xmlns:a16="http://schemas.microsoft.com/office/drawing/2014/main" id="{B4A9F046-8B6E-45EC-9561-806212A29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209" y="4117873"/>
              <a:ext cx="1857375" cy="2398713"/>
            </a:xfrm>
            <a:custGeom>
              <a:avLst/>
              <a:gdLst>
                <a:gd name="T0" fmla="*/ 0 w 188"/>
                <a:gd name="T1" fmla="*/ 187 h 243"/>
                <a:gd name="T2" fmla="*/ 84 w 188"/>
                <a:gd name="T3" fmla="*/ 243 h 243"/>
                <a:gd name="T4" fmla="*/ 188 w 188"/>
                <a:gd name="T5" fmla="*/ 0 h 243"/>
                <a:gd name="T6" fmla="*/ 0 w 188"/>
                <a:gd name="T7" fmla="*/ 18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8" h="243">
                  <a:moveTo>
                    <a:pt x="0" y="187"/>
                  </a:moveTo>
                  <a:cubicBezTo>
                    <a:pt x="24" y="211"/>
                    <a:pt x="52" y="230"/>
                    <a:pt x="84" y="243"/>
                  </a:cubicBezTo>
                  <a:lnTo>
                    <a:pt x="188" y="0"/>
                  </a:lnTo>
                  <a:lnTo>
                    <a:pt x="0" y="187"/>
                  </a:lnTo>
                  <a:close/>
                </a:path>
              </a:pathLst>
            </a:custGeom>
            <a:solidFill>
              <a:schemeClr val="accent2">
                <a:lumMod val="40000"/>
                <a:lumOff val="6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7">
              <a:extLst>
                <a:ext uri="{FF2B5EF4-FFF2-40B4-BE49-F238E27FC236}">
                  <a16:creationId xmlns:a16="http://schemas.microsoft.com/office/drawing/2014/main" id="{79082887-0F7E-4A37-A051-41EFDFA1AE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122" y="4117873"/>
              <a:ext cx="2430463" cy="1846263"/>
            </a:xfrm>
            <a:custGeom>
              <a:avLst/>
              <a:gdLst>
                <a:gd name="T0" fmla="*/ 0 w 246"/>
                <a:gd name="T1" fmla="*/ 98 h 187"/>
                <a:gd name="T2" fmla="*/ 58 w 246"/>
                <a:gd name="T3" fmla="*/ 187 h 187"/>
                <a:gd name="T4" fmla="*/ 246 w 246"/>
                <a:gd name="T5" fmla="*/ 0 h 187"/>
                <a:gd name="T6" fmla="*/ 0 w 246"/>
                <a:gd name="T7" fmla="*/ 98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6" h="187">
                  <a:moveTo>
                    <a:pt x="0" y="98"/>
                  </a:moveTo>
                  <a:cubicBezTo>
                    <a:pt x="13" y="132"/>
                    <a:pt x="33" y="162"/>
                    <a:pt x="58" y="187"/>
                  </a:cubicBezTo>
                  <a:lnTo>
                    <a:pt x="246" y="0"/>
                  </a:lnTo>
                  <a:lnTo>
                    <a:pt x="0" y="98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8">
              <a:extLst>
                <a:ext uri="{FF2B5EF4-FFF2-40B4-BE49-F238E27FC236}">
                  <a16:creationId xmlns:a16="http://schemas.microsoft.com/office/drawing/2014/main" id="{E6883A4A-1326-4A9A-BAC2-230D4530C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797" y="4117873"/>
              <a:ext cx="2617788" cy="966788"/>
            </a:xfrm>
            <a:custGeom>
              <a:avLst/>
              <a:gdLst>
                <a:gd name="T0" fmla="*/ 0 w 265"/>
                <a:gd name="T1" fmla="*/ 0 h 98"/>
                <a:gd name="T2" fmla="*/ 19 w 265"/>
                <a:gd name="T3" fmla="*/ 98 h 98"/>
                <a:gd name="T4" fmla="*/ 265 w 265"/>
                <a:gd name="T5" fmla="*/ 0 h 98"/>
                <a:gd name="T6" fmla="*/ 0 w 265"/>
                <a:gd name="T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5" h="98">
                  <a:moveTo>
                    <a:pt x="0" y="0"/>
                  </a:moveTo>
                  <a:cubicBezTo>
                    <a:pt x="0" y="33"/>
                    <a:pt x="6" y="67"/>
                    <a:pt x="19" y="98"/>
                  </a:cubicBezTo>
                  <a:lnTo>
                    <a:pt x="26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9">
              <a:extLst>
                <a:ext uri="{FF2B5EF4-FFF2-40B4-BE49-F238E27FC236}">
                  <a16:creationId xmlns:a16="http://schemas.microsoft.com/office/drawing/2014/main" id="{6AC1CAEC-2305-4BC6-B74F-670B261CD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797" y="3092348"/>
              <a:ext cx="2617788" cy="1025525"/>
            </a:xfrm>
            <a:custGeom>
              <a:avLst/>
              <a:gdLst>
                <a:gd name="T0" fmla="*/ 21 w 265"/>
                <a:gd name="T1" fmla="*/ 0 h 104"/>
                <a:gd name="T2" fmla="*/ 0 w 265"/>
                <a:gd name="T3" fmla="*/ 103 h 104"/>
                <a:gd name="T4" fmla="*/ 265 w 265"/>
                <a:gd name="T5" fmla="*/ 104 h 104"/>
                <a:gd name="T6" fmla="*/ 21 w 265"/>
                <a:gd name="T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5" h="104">
                  <a:moveTo>
                    <a:pt x="21" y="0"/>
                  </a:moveTo>
                  <a:cubicBezTo>
                    <a:pt x="7" y="32"/>
                    <a:pt x="0" y="68"/>
                    <a:pt x="0" y="103"/>
                  </a:cubicBezTo>
                  <a:lnTo>
                    <a:pt x="265" y="104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0">
              <a:extLst>
                <a:ext uri="{FF2B5EF4-FFF2-40B4-BE49-F238E27FC236}">
                  <a16:creationId xmlns:a16="http://schemas.microsoft.com/office/drawing/2014/main" id="{F4570A46-E528-4689-92DA-D6F7D449C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8759" y="2263673"/>
              <a:ext cx="2409825" cy="1854200"/>
            </a:xfrm>
            <a:custGeom>
              <a:avLst/>
              <a:gdLst>
                <a:gd name="T0" fmla="*/ 56 w 244"/>
                <a:gd name="T1" fmla="*/ 0 h 188"/>
                <a:gd name="T2" fmla="*/ 0 w 244"/>
                <a:gd name="T3" fmla="*/ 84 h 188"/>
                <a:gd name="T4" fmla="*/ 244 w 244"/>
                <a:gd name="T5" fmla="*/ 188 h 188"/>
                <a:gd name="T6" fmla="*/ 56 w 244"/>
                <a:gd name="T7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4" h="188">
                  <a:moveTo>
                    <a:pt x="56" y="0"/>
                  </a:moveTo>
                  <a:cubicBezTo>
                    <a:pt x="32" y="24"/>
                    <a:pt x="13" y="52"/>
                    <a:pt x="0" y="84"/>
                  </a:cubicBezTo>
                  <a:lnTo>
                    <a:pt x="244" y="188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5092B7BF-0A2D-4DAA-82B2-04EB4D75EF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1209" y="1690586"/>
              <a:ext cx="1857375" cy="2427288"/>
            </a:xfrm>
            <a:custGeom>
              <a:avLst/>
              <a:gdLst>
                <a:gd name="T0" fmla="*/ 89 w 188"/>
                <a:gd name="T1" fmla="*/ 0 h 246"/>
                <a:gd name="T2" fmla="*/ 0 w 188"/>
                <a:gd name="T3" fmla="*/ 58 h 246"/>
                <a:gd name="T4" fmla="*/ 188 w 188"/>
                <a:gd name="T5" fmla="*/ 246 h 246"/>
                <a:gd name="T6" fmla="*/ 89 w 188"/>
                <a:gd name="T7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8" h="246">
                  <a:moveTo>
                    <a:pt x="89" y="0"/>
                  </a:moveTo>
                  <a:cubicBezTo>
                    <a:pt x="55" y="13"/>
                    <a:pt x="25" y="33"/>
                    <a:pt x="0" y="58"/>
                  </a:cubicBezTo>
                  <a:lnTo>
                    <a:pt x="188" y="246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54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2">
              <a:extLst>
                <a:ext uri="{FF2B5EF4-FFF2-40B4-BE49-F238E27FC236}">
                  <a16:creationId xmlns:a16="http://schemas.microsoft.com/office/drawing/2014/main" id="{F98593DA-B188-4B32-B1BC-E4A4F9328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0684" y="1503261"/>
              <a:ext cx="977900" cy="2614613"/>
            </a:xfrm>
            <a:custGeom>
              <a:avLst/>
              <a:gdLst>
                <a:gd name="T0" fmla="*/ 98 w 99"/>
                <a:gd name="T1" fmla="*/ 0 h 265"/>
                <a:gd name="T2" fmla="*/ 0 w 99"/>
                <a:gd name="T3" fmla="*/ 19 h 265"/>
                <a:gd name="T4" fmla="*/ 99 w 99"/>
                <a:gd name="T5" fmla="*/ 265 h 265"/>
                <a:gd name="T6" fmla="*/ 98 w 99"/>
                <a:gd name="T7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265">
                  <a:moveTo>
                    <a:pt x="98" y="0"/>
                  </a:moveTo>
                  <a:cubicBezTo>
                    <a:pt x="65" y="0"/>
                    <a:pt x="31" y="6"/>
                    <a:pt x="0" y="19"/>
                  </a:cubicBezTo>
                  <a:lnTo>
                    <a:pt x="99" y="265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bg1">
                <a:lumMod val="65000"/>
                <a:alpha val="72000"/>
              </a:schemeClr>
            </a:solidFill>
            <a:ln>
              <a:solidFill>
                <a:schemeClr val="bg1">
                  <a:alpha val="38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123930" name="Picture 26" descr="Image result for facebook logo png">
              <a:extLst>
                <a:ext uri="{FF2B5EF4-FFF2-40B4-BE49-F238E27FC236}">
                  <a16:creationId xmlns:a16="http://schemas.microsoft.com/office/drawing/2014/main" id="{14972EE3-5DAB-4664-A15B-B47CC89C46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5792" y="1710517"/>
              <a:ext cx="712644" cy="1498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32" name="Picture 28" descr="Image result for twitter logo png">
              <a:extLst>
                <a:ext uri="{FF2B5EF4-FFF2-40B4-BE49-F238E27FC236}">
                  <a16:creationId xmlns:a16="http://schemas.microsoft.com/office/drawing/2014/main" id="{D413AD60-4D94-4692-A42E-08BF1A86FA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4477" y="4278544"/>
              <a:ext cx="537142" cy="5371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34" name="Picture 30" descr="Image result for youtube logo png">
              <a:extLst>
                <a:ext uri="{FF2B5EF4-FFF2-40B4-BE49-F238E27FC236}">
                  <a16:creationId xmlns:a16="http://schemas.microsoft.com/office/drawing/2014/main" id="{0F116F4B-DA0B-4950-9506-D6BF0A7206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1127" y="1966101"/>
              <a:ext cx="635050" cy="3594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36" name="Picture 32" descr="Image result for google play logo png">
              <a:extLst>
                <a:ext uri="{FF2B5EF4-FFF2-40B4-BE49-F238E27FC236}">
                  <a16:creationId xmlns:a16="http://schemas.microsoft.com/office/drawing/2014/main" id="{BFD86942-AF2B-44F9-8CFE-3E6D36AEF07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948499" y="2669957"/>
              <a:ext cx="664798" cy="211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38" name="Picture 34" descr="Image result for app store logo png">
              <a:extLst>
                <a:ext uri="{FF2B5EF4-FFF2-40B4-BE49-F238E27FC236}">
                  <a16:creationId xmlns:a16="http://schemas.microsoft.com/office/drawing/2014/main" id="{DA8DC8A4-75C0-415F-95B4-5908453B0D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8499" y="2910668"/>
              <a:ext cx="664798" cy="197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40" name="Picture 36" descr="Image result for chat logo png">
              <a:extLst>
                <a:ext uri="{FF2B5EF4-FFF2-40B4-BE49-F238E27FC236}">
                  <a16:creationId xmlns:a16="http://schemas.microsoft.com/office/drawing/2014/main" id="{129A9DD0-5900-481B-A307-1EF6AA01F2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1093" y="1630426"/>
              <a:ext cx="403224" cy="4032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42" name="Picture 38" descr="Image result for instagram logo png">
              <a:extLst>
                <a:ext uri="{FF2B5EF4-FFF2-40B4-BE49-F238E27FC236}">
                  <a16:creationId xmlns:a16="http://schemas.microsoft.com/office/drawing/2014/main" id="{9DFB2132-50D2-4A76-8B56-398C269925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30494" y="3413714"/>
              <a:ext cx="575594" cy="558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44" name="Picture 40" descr="Image result for tinder  logo png">
              <a:extLst>
                <a:ext uri="{FF2B5EF4-FFF2-40B4-BE49-F238E27FC236}">
                  <a16:creationId xmlns:a16="http://schemas.microsoft.com/office/drawing/2014/main" id="{74B7ACDB-BD6A-4B58-A21B-29F615E2BE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85824" y="5299660"/>
              <a:ext cx="386612" cy="145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46" name="Picture 42" descr="Image result for mailbox  logo png">
              <a:extLst>
                <a:ext uri="{FF2B5EF4-FFF2-40B4-BE49-F238E27FC236}">
                  <a16:creationId xmlns:a16="http://schemas.microsoft.com/office/drawing/2014/main" id="{51C42386-A4D9-47CB-88B9-5A9C425206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9773" y="5974706"/>
              <a:ext cx="334498" cy="3344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50" name="Picture 46" descr="Image result for spotify  logo png">
              <a:extLst>
                <a:ext uri="{FF2B5EF4-FFF2-40B4-BE49-F238E27FC236}">
                  <a16:creationId xmlns:a16="http://schemas.microsoft.com/office/drawing/2014/main" id="{5F6D1935-4653-45B4-9FF1-A3398CF546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0817" y="6387451"/>
              <a:ext cx="805108" cy="2419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53" name="Picture 49" descr="Image result for amazon echo logo png">
              <a:extLst>
                <a:ext uri="{FF2B5EF4-FFF2-40B4-BE49-F238E27FC236}">
                  <a16:creationId xmlns:a16="http://schemas.microsoft.com/office/drawing/2014/main" id="{D14506A4-7C22-4876-9CD5-B3EEDE0A18A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40080" y="6397353"/>
              <a:ext cx="762726" cy="1980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57" name="Picture 53" descr="Image result for linkedin logo png">
              <a:extLst>
                <a:ext uri="{FF2B5EF4-FFF2-40B4-BE49-F238E27FC236}">
                  <a16:creationId xmlns:a16="http://schemas.microsoft.com/office/drawing/2014/main" id="{EB5F8725-D938-4EC0-80AD-2A4BB17425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3486" y="6003400"/>
              <a:ext cx="626820" cy="1702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61" name="Picture 57" descr="Image result for fb messenger logo png">
              <a:extLst>
                <a:ext uri="{FF2B5EF4-FFF2-40B4-BE49-F238E27FC236}">
                  <a16:creationId xmlns:a16="http://schemas.microsoft.com/office/drawing/2014/main" id="{33F3C6DC-A266-45AE-80AA-2C7AE97234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8034" y="5103240"/>
              <a:ext cx="515292" cy="5152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63" name="Picture 59" descr="Image result for snapchat logo png">
              <a:extLst>
                <a:ext uri="{FF2B5EF4-FFF2-40B4-BE49-F238E27FC236}">
                  <a16:creationId xmlns:a16="http://schemas.microsoft.com/office/drawing/2014/main" id="{6B86A5E5-2100-4942-B96E-43BDFAF4B97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49767" y="4213264"/>
              <a:ext cx="599210" cy="6159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69" name="Picture 65" descr="Image result for online shopping basket logo png">
              <a:extLst>
                <a:ext uri="{FF2B5EF4-FFF2-40B4-BE49-F238E27FC236}">
                  <a16:creationId xmlns:a16="http://schemas.microsoft.com/office/drawing/2014/main" id="{45C341E1-E517-4A01-9688-2B9F28D2E6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3577" y="3454056"/>
              <a:ext cx="493872" cy="4949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71" name="Picture 67" descr="Image result for netflix logo png">
              <a:extLst>
                <a:ext uri="{FF2B5EF4-FFF2-40B4-BE49-F238E27FC236}">
                  <a16:creationId xmlns:a16="http://schemas.microsoft.com/office/drawing/2014/main" id="{5C3085DD-0157-4F8C-B0AF-A7E66C4375E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700" t="32050" r="8453" b="26614"/>
            <a:stretch/>
          </p:blipFill>
          <p:spPr bwMode="auto">
            <a:xfrm>
              <a:off x="1255708" y="2709279"/>
              <a:ext cx="763046" cy="2141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973" name="Picture 69" descr="Image result for google logo png">
              <a:extLst>
                <a:ext uri="{FF2B5EF4-FFF2-40B4-BE49-F238E27FC236}">
                  <a16:creationId xmlns:a16="http://schemas.microsoft.com/office/drawing/2014/main" id="{27B39D29-C7E5-4675-901C-C55CB77DE0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3364" y="2111779"/>
              <a:ext cx="898776" cy="303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0572545-E3FD-40FB-94C0-E5D7935F5953}"/>
                </a:ext>
              </a:extLst>
            </p:cNvPr>
            <p:cNvSpPr txBox="1"/>
            <p:nvPr/>
          </p:nvSpPr>
          <p:spPr>
            <a:xfrm>
              <a:off x="2871967" y="2133621"/>
              <a:ext cx="41678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00,000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gins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6ADCE8C9-86BD-4A7B-91A9-9FBAED805630}"/>
                </a:ext>
              </a:extLst>
            </p:cNvPr>
            <p:cNvSpPr txBox="1"/>
            <p:nvPr/>
          </p:nvSpPr>
          <p:spPr>
            <a:xfrm>
              <a:off x="3564489" y="2133621"/>
              <a:ext cx="525785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 Million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xt</a:t>
              </a:r>
              <a:b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ssages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96932D0F-9710-4FAB-B2DD-0D90AAE34960}"/>
                </a:ext>
              </a:extLst>
            </p:cNvPr>
            <p:cNvSpPr txBox="1"/>
            <p:nvPr/>
          </p:nvSpPr>
          <p:spPr>
            <a:xfrm>
              <a:off x="4287528" y="2375952"/>
              <a:ext cx="557845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1 Million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deos </a:t>
              </a:r>
              <a:b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ewed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FDF3F362-C4B0-407A-BC82-F77F7A2962BB}"/>
                </a:ext>
              </a:extLst>
            </p:cNvPr>
            <p:cNvSpPr txBox="1"/>
            <p:nvPr/>
          </p:nvSpPr>
          <p:spPr>
            <a:xfrm>
              <a:off x="4310074" y="3153288"/>
              <a:ext cx="93615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42,0000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s Downloaded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A99F672B-C3D3-4796-9A19-1D44429F76AF}"/>
                </a:ext>
              </a:extLst>
            </p:cNvPr>
            <p:cNvSpPr txBox="1"/>
            <p:nvPr/>
          </p:nvSpPr>
          <p:spPr>
            <a:xfrm>
              <a:off x="4481309" y="3690840"/>
              <a:ext cx="81432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6,200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sts Uploaded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B8833AF5-2AFC-4BCA-89B9-0B2F5074667F}"/>
                </a:ext>
              </a:extLst>
            </p:cNvPr>
            <p:cNvSpPr txBox="1"/>
            <p:nvPr/>
          </p:nvSpPr>
          <p:spPr>
            <a:xfrm>
              <a:off x="4755630" y="4338704"/>
              <a:ext cx="64120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52,000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weets Sent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1BE96D8A-A3AF-4EA9-8A8F-45B32D3357BA}"/>
                </a:ext>
              </a:extLst>
            </p:cNvPr>
            <p:cNvSpPr txBox="1"/>
            <p:nvPr/>
          </p:nvSpPr>
          <p:spPr>
            <a:xfrm>
              <a:off x="4666489" y="4859810"/>
              <a:ext cx="416781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90,000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wipes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78D1445C-1D7A-4609-A61B-FF9808DB76B0}"/>
                </a:ext>
              </a:extLst>
            </p:cNvPr>
            <p:cNvSpPr txBox="1"/>
            <p:nvPr/>
          </p:nvSpPr>
          <p:spPr>
            <a:xfrm>
              <a:off x="4267817" y="5548828"/>
              <a:ext cx="61555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6 Million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ails Sent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33FAF373-F3DB-4F63-BC30-FB18EE5E3AFD}"/>
                </a:ext>
              </a:extLst>
            </p:cNvPr>
            <p:cNvSpPr txBox="1"/>
            <p:nvPr/>
          </p:nvSpPr>
          <p:spPr>
            <a:xfrm>
              <a:off x="3646419" y="5900347"/>
              <a:ext cx="436017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,000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rs</a:t>
              </a:r>
              <a:b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stened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2F4C39F7-C366-41FD-98F9-B9086F496AFC}"/>
                </a:ext>
              </a:extLst>
            </p:cNvPr>
            <p:cNvSpPr txBox="1"/>
            <p:nvPr/>
          </p:nvSpPr>
          <p:spPr>
            <a:xfrm>
              <a:off x="2779894" y="5743933"/>
              <a:ext cx="583493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ice-First </a:t>
              </a:r>
              <a:b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ices </a:t>
              </a:r>
              <a:b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pped</a:t>
              </a:r>
            </a:p>
          </p:txBody>
        </p:sp>
        <p:pic>
          <p:nvPicPr>
            <p:cNvPr id="123976" name="Picture 72" descr="Image result for amazon voice first device png">
              <a:extLst>
                <a:ext uri="{FF2B5EF4-FFF2-40B4-BE49-F238E27FC236}">
                  <a16:creationId xmlns:a16="http://schemas.microsoft.com/office/drawing/2014/main" id="{C42F0932-FF51-4A57-9E3A-EC246041B6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H="1">
              <a:off x="3332849" y="6392420"/>
              <a:ext cx="99638" cy="2992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A7717298-CB76-4EB8-9137-ED49250C50DB}"/>
                </a:ext>
              </a:extLst>
            </p:cNvPr>
            <p:cNvSpPr txBox="1"/>
            <p:nvPr/>
          </p:nvSpPr>
          <p:spPr>
            <a:xfrm>
              <a:off x="1976846" y="5503822"/>
              <a:ext cx="737381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0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w Accounts</a:t>
              </a:r>
              <a:b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d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9F52CD70-AE5F-460C-A798-79BF06F08CD5}"/>
                </a:ext>
              </a:extLst>
            </p:cNvPr>
            <p:cNvSpPr txBox="1"/>
            <p:nvPr/>
          </p:nvSpPr>
          <p:spPr>
            <a:xfrm>
              <a:off x="1659579" y="4791622"/>
              <a:ext cx="698909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,000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IFS sent via</a:t>
              </a:r>
              <a:b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ssenger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71B24939-DA88-4A5B-96C1-723969686D37}"/>
                </a:ext>
              </a:extLst>
            </p:cNvPr>
            <p:cNvSpPr txBox="1"/>
            <p:nvPr/>
          </p:nvSpPr>
          <p:spPr>
            <a:xfrm>
              <a:off x="1609791" y="4192786"/>
              <a:ext cx="557845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8 Million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naps</a:t>
              </a:r>
              <a:b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ated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7F160611-51A5-4F29-BA16-AA3947014B63}"/>
                </a:ext>
              </a:extLst>
            </p:cNvPr>
            <p:cNvSpPr txBox="1"/>
            <p:nvPr/>
          </p:nvSpPr>
          <p:spPr>
            <a:xfrm>
              <a:off x="1675608" y="3662535"/>
              <a:ext cx="66684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$751,522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ent Online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0FA3BC92-C2CB-44F3-8735-5953BED7B1DB}"/>
                </a:ext>
              </a:extLst>
            </p:cNvPr>
            <p:cNvSpPr txBox="1"/>
            <p:nvPr/>
          </p:nvSpPr>
          <p:spPr>
            <a:xfrm>
              <a:off x="1864836" y="2979425"/>
              <a:ext cx="455253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0,017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rs </a:t>
              </a:r>
              <a:b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atched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35D07CA1-6FB0-436F-B318-A5F2B6BC3C18}"/>
                </a:ext>
              </a:extLst>
            </p:cNvPr>
            <p:cNvSpPr txBox="1"/>
            <p:nvPr/>
          </p:nvSpPr>
          <p:spPr>
            <a:xfrm>
              <a:off x="2234142" y="2472251"/>
              <a:ext cx="557845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5 Million</a:t>
              </a:r>
              <a:br>
                <a:rPr lang="en-US" sz="9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rch</a:t>
              </a:r>
              <a:b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ueries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3BE8CD2-22BA-483F-9E92-E97F46876E9D}"/>
                </a:ext>
              </a:extLst>
            </p:cNvPr>
            <p:cNvSpPr/>
            <p:nvPr/>
          </p:nvSpPr>
          <p:spPr>
            <a:xfrm>
              <a:off x="2764945" y="3413695"/>
              <a:ext cx="1407278" cy="14083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6CB5FBA-31CD-4157-8CC4-FC319D3013ED}"/>
                </a:ext>
              </a:extLst>
            </p:cNvPr>
            <p:cNvSpPr/>
            <p:nvPr/>
          </p:nvSpPr>
          <p:spPr>
            <a:xfrm>
              <a:off x="3393130" y="3294235"/>
              <a:ext cx="144380" cy="164592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DB31BC7-94B7-490C-949A-E10425980DF6}"/>
                </a:ext>
              </a:extLst>
            </p:cNvPr>
            <p:cNvSpPr/>
            <p:nvPr/>
          </p:nvSpPr>
          <p:spPr>
            <a:xfrm rot="1883760">
              <a:off x="3810944" y="3460256"/>
              <a:ext cx="144380" cy="146304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D98001AD-F299-437C-A110-D051D11D8AD8}"/>
                </a:ext>
              </a:extLst>
            </p:cNvPr>
            <p:cNvSpPr/>
            <p:nvPr/>
          </p:nvSpPr>
          <p:spPr>
            <a:xfrm rot="8569659">
              <a:off x="3019427" y="3429866"/>
              <a:ext cx="144380" cy="146304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4182497E-33F5-4181-9655-695F61CFE4D3}"/>
                </a:ext>
              </a:extLst>
            </p:cNvPr>
            <p:cNvSpPr txBox="1"/>
            <p:nvPr/>
          </p:nvSpPr>
          <p:spPr>
            <a:xfrm>
              <a:off x="3151992" y="3685900"/>
              <a:ext cx="633187" cy="7694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en-US" sz="4000" b="1" dirty="0">
                  <a:latin typeface="Arial" panose="020B0604020202020204" pitchFamily="34" charset="0"/>
                  <a:cs typeface="Arial" panose="020B0604020202020204" pitchFamily="34" charset="0"/>
                </a:rPr>
                <a:t>60</a:t>
              </a:r>
              <a:r>
                <a:rPr lang="en-US" sz="900" b="1" dirty="0"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en-US" sz="900" b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SECONDS</a:t>
              </a:r>
              <a:endParaRPr lang="en-US" sz="9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CEACC867-D8A6-4FFC-BD67-1D04F493E4D5}"/>
                </a:ext>
              </a:extLst>
            </p:cNvPr>
            <p:cNvGrpSpPr/>
            <p:nvPr/>
          </p:nvGrpSpPr>
          <p:grpSpPr>
            <a:xfrm>
              <a:off x="2764945" y="3413695"/>
              <a:ext cx="1407278" cy="1408356"/>
              <a:chOff x="5980113" y="1755776"/>
              <a:chExt cx="3736975" cy="3741738"/>
            </a:xfrm>
            <a:solidFill>
              <a:schemeClr val="bg1">
                <a:lumMod val="50000"/>
              </a:schemeClr>
            </a:solidFill>
          </p:grpSpPr>
          <p:sp>
            <p:nvSpPr>
              <p:cNvPr id="9" name="Freeform 7">
                <a:extLst>
                  <a:ext uri="{FF2B5EF4-FFF2-40B4-BE49-F238E27FC236}">
                    <a16:creationId xmlns:a16="http://schemas.microsoft.com/office/drawing/2014/main" id="{F7341030-2E70-4AB5-9BA8-AFBEB43F4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6051" y="2162176"/>
                <a:ext cx="163513" cy="203200"/>
              </a:xfrm>
              <a:custGeom>
                <a:avLst/>
                <a:gdLst>
                  <a:gd name="T0" fmla="*/ 104 w 206"/>
                  <a:gd name="T1" fmla="*/ 0 h 258"/>
                  <a:gd name="T2" fmla="*/ 131 w 206"/>
                  <a:gd name="T3" fmla="*/ 5 h 258"/>
                  <a:gd name="T4" fmla="*/ 155 w 206"/>
                  <a:gd name="T5" fmla="*/ 15 h 258"/>
                  <a:gd name="T6" fmla="*/ 175 w 206"/>
                  <a:gd name="T7" fmla="*/ 31 h 258"/>
                  <a:gd name="T8" fmla="*/ 191 w 206"/>
                  <a:gd name="T9" fmla="*/ 52 h 258"/>
                  <a:gd name="T10" fmla="*/ 201 w 206"/>
                  <a:gd name="T11" fmla="*/ 77 h 258"/>
                  <a:gd name="T12" fmla="*/ 206 w 206"/>
                  <a:gd name="T13" fmla="*/ 104 h 258"/>
                  <a:gd name="T14" fmla="*/ 206 w 206"/>
                  <a:gd name="T15" fmla="*/ 154 h 258"/>
                  <a:gd name="T16" fmla="*/ 201 w 206"/>
                  <a:gd name="T17" fmla="*/ 181 h 258"/>
                  <a:gd name="T18" fmla="*/ 191 w 206"/>
                  <a:gd name="T19" fmla="*/ 206 h 258"/>
                  <a:gd name="T20" fmla="*/ 175 w 206"/>
                  <a:gd name="T21" fmla="*/ 227 h 258"/>
                  <a:gd name="T22" fmla="*/ 155 w 206"/>
                  <a:gd name="T23" fmla="*/ 243 h 258"/>
                  <a:gd name="T24" fmla="*/ 131 w 206"/>
                  <a:gd name="T25" fmla="*/ 253 h 258"/>
                  <a:gd name="T26" fmla="*/ 104 w 206"/>
                  <a:gd name="T27" fmla="*/ 258 h 258"/>
                  <a:gd name="T28" fmla="*/ 76 w 206"/>
                  <a:gd name="T29" fmla="*/ 253 h 258"/>
                  <a:gd name="T30" fmla="*/ 52 w 206"/>
                  <a:gd name="T31" fmla="*/ 243 h 258"/>
                  <a:gd name="T32" fmla="*/ 31 w 206"/>
                  <a:gd name="T33" fmla="*/ 227 h 258"/>
                  <a:gd name="T34" fmla="*/ 15 w 206"/>
                  <a:gd name="T35" fmla="*/ 206 h 258"/>
                  <a:gd name="T36" fmla="*/ 5 w 206"/>
                  <a:gd name="T37" fmla="*/ 181 h 258"/>
                  <a:gd name="T38" fmla="*/ 0 w 206"/>
                  <a:gd name="T39" fmla="*/ 154 h 258"/>
                  <a:gd name="T40" fmla="*/ 0 w 206"/>
                  <a:gd name="T41" fmla="*/ 104 h 258"/>
                  <a:gd name="T42" fmla="*/ 5 w 206"/>
                  <a:gd name="T43" fmla="*/ 77 h 258"/>
                  <a:gd name="T44" fmla="*/ 15 w 206"/>
                  <a:gd name="T45" fmla="*/ 52 h 258"/>
                  <a:gd name="T46" fmla="*/ 31 w 206"/>
                  <a:gd name="T47" fmla="*/ 31 h 258"/>
                  <a:gd name="T48" fmla="*/ 52 w 206"/>
                  <a:gd name="T49" fmla="*/ 15 h 258"/>
                  <a:gd name="T50" fmla="*/ 76 w 206"/>
                  <a:gd name="T51" fmla="*/ 5 h 258"/>
                  <a:gd name="T52" fmla="*/ 104 w 206"/>
                  <a:gd name="T53" fmla="*/ 0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6" h="258">
                    <a:moveTo>
                      <a:pt x="104" y="0"/>
                    </a:moveTo>
                    <a:lnTo>
                      <a:pt x="131" y="5"/>
                    </a:lnTo>
                    <a:lnTo>
                      <a:pt x="155" y="15"/>
                    </a:lnTo>
                    <a:lnTo>
                      <a:pt x="175" y="31"/>
                    </a:lnTo>
                    <a:lnTo>
                      <a:pt x="191" y="52"/>
                    </a:lnTo>
                    <a:lnTo>
                      <a:pt x="201" y="77"/>
                    </a:lnTo>
                    <a:lnTo>
                      <a:pt x="206" y="104"/>
                    </a:lnTo>
                    <a:lnTo>
                      <a:pt x="206" y="154"/>
                    </a:lnTo>
                    <a:lnTo>
                      <a:pt x="201" y="181"/>
                    </a:lnTo>
                    <a:lnTo>
                      <a:pt x="191" y="206"/>
                    </a:lnTo>
                    <a:lnTo>
                      <a:pt x="175" y="227"/>
                    </a:lnTo>
                    <a:lnTo>
                      <a:pt x="155" y="243"/>
                    </a:lnTo>
                    <a:lnTo>
                      <a:pt x="131" y="253"/>
                    </a:lnTo>
                    <a:lnTo>
                      <a:pt x="104" y="258"/>
                    </a:lnTo>
                    <a:lnTo>
                      <a:pt x="76" y="253"/>
                    </a:lnTo>
                    <a:lnTo>
                      <a:pt x="52" y="243"/>
                    </a:lnTo>
                    <a:lnTo>
                      <a:pt x="31" y="227"/>
                    </a:lnTo>
                    <a:lnTo>
                      <a:pt x="15" y="206"/>
                    </a:lnTo>
                    <a:lnTo>
                      <a:pt x="5" y="181"/>
                    </a:lnTo>
                    <a:lnTo>
                      <a:pt x="0" y="154"/>
                    </a:lnTo>
                    <a:lnTo>
                      <a:pt x="0" y="104"/>
                    </a:lnTo>
                    <a:lnTo>
                      <a:pt x="5" y="77"/>
                    </a:lnTo>
                    <a:lnTo>
                      <a:pt x="15" y="52"/>
                    </a:lnTo>
                    <a:lnTo>
                      <a:pt x="31" y="31"/>
                    </a:lnTo>
                    <a:lnTo>
                      <a:pt x="52" y="15"/>
                    </a:lnTo>
                    <a:lnTo>
                      <a:pt x="76" y="5"/>
                    </a:lnTo>
                    <a:lnTo>
                      <a:pt x="104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8">
                <a:extLst>
                  <a:ext uri="{FF2B5EF4-FFF2-40B4-BE49-F238E27FC236}">
                    <a16:creationId xmlns:a16="http://schemas.microsoft.com/office/drawing/2014/main" id="{305CBE42-7396-46D8-8DC2-24ABB36AC4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6051" y="4887913"/>
                <a:ext cx="163513" cy="203200"/>
              </a:xfrm>
              <a:custGeom>
                <a:avLst/>
                <a:gdLst>
                  <a:gd name="T0" fmla="*/ 104 w 206"/>
                  <a:gd name="T1" fmla="*/ 0 h 255"/>
                  <a:gd name="T2" fmla="*/ 131 w 206"/>
                  <a:gd name="T3" fmla="*/ 3 h 255"/>
                  <a:gd name="T4" fmla="*/ 155 w 206"/>
                  <a:gd name="T5" fmla="*/ 13 h 255"/>
                  <a:gd name="T6" fmla="*/ 175 w 206"/>
                  <a:gd name="T7" fmla="*/ 30 h 255"/>
                  <a:gd name="T8" fmla="*/ 191 w 206"/>
                  <a:gd name="T9" fmla="*/ 50 h 255"/>
                  <a:gd name="T10" fmla="*/ 201 w 206"/>
                  <a:gd name="T11" fmla="*/ 74 h 255"/>
                  <a:gd name="T12" fmla="*/ 206 w 206"/>
                  <a:gd name="T13" fmla="*/ 102 h 255"/>
                  <a:gd name="T14" fmla="*/ 206 w 206"/>
                  <a:gd name="T15" fmla="*/ 153 h 255"/>
                  <a:gd name="T16" fmla="*/ 201 w 206"/>
                  <a:gd name="T17" fmla="*/ 181 h 255"/>
                  <a:gd name="T18" fmla="*/ 191 w 206"/>
                  <a:gd name="T19" fmla="*/ 205 h 255"/>
                  <a:gd name="T20" fmla="*/ 175 w 206"/>
                  <a:gd name="T21" fmla="*/ 225 h 255"/>
                  <a:gd name="T22" fmla="*/ 155 w 206"/>
                  <a:gd name="T23" fmla="*/ 241 h 255"/>
                  <a:gd name="T24" fmla="*/ 131 w 206"/>
                  <a:gd name="T25" fmla="*/ 253 h 255"/>
                  <a:gd name="T26" fmla="*/ 104 w 206"/>
                  <a:gd name="T27" fmla="*/ 255 h 255"/>
                  <a:gd name="T28" fmla="*/ 76 w 206"/>
                  <a:gd name="T29" fmla="*/ 253 h 255"/>
                  <a:gd name="T30" fmla="*/ 52 w 206"/>
                  <a:gd name="T31" fmla="*/ 241 h 255"/>
                  <a:gd name="T32" fmla="*/ 31 w 206"/>
                  <a:gd name="T33" fmla="*/ 225 h 255"/>
                  <a:gd name="T34" fmla="*/ 15 w 206"/>
                  <a:gd name="T35" fmla="*/ 205 h 255"/>
                  <a:gd name="T36" fmla="*/ 5 w 206"/>
                  <a:gd name="T37" fmla="*/ 181 h 255"/>
                  <a:gd name="T38" fmla="*/ 0 w 206"/>
                  <a:gd name="T39" fmla="*/ 153 h 255"/>
                  <a:gd name="T40" fmla="*/ 0 w 206"/>
                  <a:gd name="T41" fmla="*/ 102 h 255"/>
                  <a:gd name="T42" fmla="*/ 5 w 206"/>
                  <a:gd name="T43" fmla="*/ 74 h 255"/>
                  <a:gd name="T44" fmla="*/ 15 w 206"/>
                  <a:gd name="T45" fmla="*/ 50 h 255"/>
                  <a:gd name="T46" fmla="*/ 31 w 206"/>
                  <a:gd name="T47" fmla="*/ 30 h 255"/>
                  <a:gd name="T48" fmla="*/ 52 w 206"/>
                  <a:gd name="T49" fmla="*/ 13 h 255"/>
                  <a:gd name="T50" fmla="*/ 76 w 206"/>
                  <a:gd name="T51" fmla="*/ 3 h 255"/>
                  <a:gd name="T52" fmla="*/ 104 w 206"/>
                  <a:gd name="T53" fmla="*/ 0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6" h="255">
                    <a:moveTo>
                      <a:pt x="104" y="0"/>
                    </a:moveTo>
                    <a:lnTo>
                      <a:pt x="131" y="3"/>
                    </a:lnTo>
                    <a:lnTo>
                      <a:pt x="155" y="13"/>
                    </a:lnTo>
                    <a:lnTo>
                      <a:pt x="175" y="30"/>
                    </a:lnTo>
                    <a:lnTo>
                      <a:pt x="191" y="50"/>
                    </a:lnTo>
                    <a:lnTo>
                      <a:pt x="201" y="74"/>
                    </a:lnTo>
                    <a:lnTo>
                      <a:pt x="206" y="102"/>
                    </a:lnTo>
                    <a:lnTo>
                      <a:pt x="206" y="153"/>
                    </a:lnTo>
                    <a:lnTo>
                      <a:pt x="201" y="181"/>
                    </a:lnTo>
                    <a:lnTo>
                      <a:pt x="191" y="205"/>
                    </a:lnTo>
                    <a:lnTo>
                      <a:pt x="175" y="225"/>
                    </a:lnTo>
                    <a:lnTo>
                      <a:pt x="155" y="241"/>
                    </a:lnTo>
                    <a:lnTo>
                      <a:pt x="131" y="253"/>
                    </a:lnTo>
                    <a:lnTo>
                      <a:pt x="104" y="255"/>
                    </a:lnTo>
                    <a:lnTo>
                      <a:pt x="76" y="253"/>
                    </a:lnTo>
                    <a:lnTo>
                      <a:pt x="52" y="241"/>
                    </a:lnTo>
                    <a:lnTo>
                      <a:pt x="31" y="225"/>
                    </a:lnTo>
                    <a:lnTo>
                      <a:pt x="15" y="205"/>
                    </a:lnTo>
                    <a:lnTo>
                      <a:pt x="5" y="181"/>
                    </a:lnTo>
                    <a:lnTo>
                      <a:pt x="0" y="153"/>
                    </a:lnTo>
                    <a:lnTo>
                      <a:pt x="0" y="102"/>
                    </a:lnTo>
                    <a:lnTo>
                      <a:pt x="5" y="74"/>
                    </a:lnTo>
                    <a:lnTo>
                      <a:pt x="15" y="50"/>
                    </a:lnTo>
                    <a:lnTo>
                      <a:pt x="31" y="30"/>
                    </a:lnTo>
                    <a:lnTo>
                      <a:pt x="52" y="13"/>
                    </a:lnTo>
                    <a:lnTo>
                      <a:pt x="76" y="3"/>
                    </a:lnTo>
                    <a:lnTo>
                      <a:pt x="104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9">
                <a:extLst>
                  <a:ext uri="{FF2B5EF4-FFF2-40B4-BE49-F238E27FC236}">
                    <a16:creationId xmlns:a16="http://schemas.microsoft.com/office/drawing/2014/main" id="{10BC04FD-F2E3-4BEE-B531-E2682528AF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4926" y="3544888"/>
                <a:ext cx="204788" cy="163513"/>
              </a:xfrm>
              <a:custGeom>
                <a:avLst/>
                <a:gdLst>
                  <a:gd name="T0" fmla="*/ 103 w 256"/>
                  <a:gd name="T1" fmla="*/ 0 h 205"/>
                  <a:gd name="T2" fmla="*/ 153 w 256"/>
                  <a:gd name="T3" fmla="*/ 0 h 205"/>
                  <a:gd name="T4" fmla="*/ 180 w 256"/>
                  <a:gd name="T5" fmla="*/ 4 h 205"/>
                  <a:gd name="T6" fmla="*/ 205 w 256"/>
                  <a:gd name="T7" fmla="*/ 14 h 205"/>
                  <a:gd name="T8" fmla="*/ 226 w 256"/>
                  <a:gd name="T9" fmla="*/ 30 h 205"/>
                  <a:gd name="T10" fmla="*/ 242 w 256"/>
                  <a:gd name="T11" fmla="*/ 51 h 205"/>
                  <a:gd name="T12" fmla="*/ 252 w 256"/>
                  <a:gd name="T13" fmla="*/ 76 h 205"/>
                  <a:gd name="T14" fmla="*/ 256 w 256"/>
                  <a:gd name="T15" fmla="*/ 103 h 205"/>
                  <a:gd name="T16" fmla="*/ 252 w 256"/>
                  <a:gd name="T17" fmla="*/ 130 h 205"/>
                  <a:gd name="T18" fmla="*/ 242 w 256"/>
                  <a:gd name="T19" fmla="*/ 155 h 205"/>
                  <a:gd name="T20" fmla="*/ 226 w 256"/>
                  <a:gd name="T21" fmla="*/ 175 h 205"/>
                  <a:gd name="T22" fmla="*/ 205 w 256"/>
                  <a:gd name="T23" fmla="*/ 191 h 205"/>
                  <a:gd name="T24" fmla="*/ 180 w 256"/>
                  <a:gd name="T25" fmla="*/ 202 h 205"/>
                  <a:gd name="T26" fmla="*/ 153 w 256"/>
                  <a:gd name="T27" fmla="*/ 205 h 205"/>
                  <a:gd name="T28" fmla="*/ 103 w 256"/>
                  <a:gd name="T29" fmla="*/ 205 h 205"/>
                  <a:gd name="T30" fmla="*/ 76 w 256"/>
                  <a:gd name="T31" fmla="*/ 202 h 205"/>
                  <a:gd name="T32" fmla="*/ 51 w 256"/>
                  <a:gd name="T33" fmla="*/ 191 h 205"/>
                  <a:gd name="T34" fmla="*/ 30 w 256"/>
                  <a:gd name="T35" fmla="*/ 175 h 205"/>
                  <a:gd name="T36" fmla="*/ 14 w 256"/>
                  <a:gd name="T37" fmla="*/ 155 h 205"/>
                  <a:gd name="T38" fmla="*/ 4 w 256"/>
                  <a:gd name="T39" fmla="*/ 130 h 205"/>
                  <a:gd name="T40" fmla="*/ 0 w 256"/>
                  <a:gd name="T41" fmla="*/ 103 h 205"/>
                  <a:gd name="T42" fmla="*/ 4 w 256"/>
                  <a:gd name="T43" fmla="*/ 76 h 205"/>
                  <a:gd name="T44" fmla="*/ 14 w 256"/>
                  <a:gd name="T45" fmla="*/ 51 h 205"/>
                  <a:gd name="T46" fmla="*/ 30 w 256"/>
                  <a:gd name="T47" fmla="*/ 30 h 205"/>
                  <a:gd name="T48" fmla="*/ 51 w 256"/>
                  <a:gd name="T49" fmla="*/ 14 h 205"/>
                  <a:gd name="T50" fmla="*/ 76 w 256"/>
                  <a:gd name="T51" fmla="*/ 4 h 205"/>
                  <a:gd name="T52" fmla="*/ 103 w 256"/>
                  <a:gd name="T53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56" h="205">
                    <a:moveTo>
                      <a:pt x="103" y="0"/>
                    </a:moveTo>
                    <a:lnTo>
                      <a:pt x="153" y="0"/>
                    </a:lnTo>
                    <a:lnTo>
                      <a:pt x="180" y="4"/>
                    </a:lnTo>
                    <a:lnTo>
                      <a:pt x="205" y="14"/>
                    </a:lnTo>
                    <a:lnTo>
                      <a:pt x="226" y="30"/>
                    </a:lnTo>
                    <a:lnTo>
                      <a:pt x="242" y="51"/>
                    </a:lnTo>
                    <a:lnTo>
                      <a:pt x="252" y="76"/>
                    </a:lnTo>
                    <a:lnTo>
                      <a:pt x="256" y="103"/>
                    </a:lnTo>
                    <a:lnTo>
                      <a:pt x="252" y="130"/>
                    </a:lnTo>
                    <a:lnTo>
                      <a:pt x="242" y="155"/>
                    </a:lnTo>
                    <a:lnTo>
                      <a:pt x="226" y="175"/>
                    </a:lnTo>
                    <a:lnTo>
                      <a:pt x="205" y="191"/>
                    </a:lnTo>
                    <a:lnTo>
                      <a:pt x="180" y="202"/>
                    </a:lnTo>
                    <a:lnTo>
                      <a:pt x="153" y="205"/>
                    </a:lnTo>
                    <a:lnTo>
                      <a:pt x="103" y="205"/>
                    </a:lnTo>
                    <a:lnTo>
                      <a:pt x="76" y="202"/>
                    </a:lnTo>
                    <a:lnTo>
                      <a:pt x="51" y="191"/>
                    </a:lnTo>
                    <a:lnTo>
                      <a:pt x="30" y="175"/>
                    </a:lnTo>
                    <a:lnTo>
                      <a:pt x="14" y="155"/>
                    </a:lnTo>
                    <a:lnTo>
                      <a:pt x="4" y="130"/>
                    </a:lnTo>
                    <a:lnTo>
                      <a:pt x="0" y="103"/>
                    </a:lnTo>
                    <a:lnTo>
                      <a:pt x="4" y="76"/>
                    </a:lnTo>
                    <a:lnTo>
                      <a:pt x="14" y="51"/>
                    </a:lnTo>
                    <a:lnTo>
                      <a:pt x="30" y="30"/>
                    </a:lnTo>
                    <a:lnTo>
                      <a:pt x="51" y="14"/>
                    </a:lnTo>
                    <a:lnTo>
                      <a:pt x="76" y="4"/>
                    </a:lnTo>
                    <a:lnTo>
                      <a:pt x="103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10">
                <a:extLst>
                  <a:ext uri="{FF2B5EF4-FFF2-40B4-BE49-F238E27FC236}">
                    <a16:creationId xmlns:a16="http://schemas.microsoft.com/office/drawing/2014/main" id="{AE651036-7EA4-4EF8-8C18-00431D6C1F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07488" y="3544888"/>
                <a:ext cx="203200" cy="163513"/>
              </a:xfrm>
              <a:custGeom>
                <a:avLst/>
                <a:gdLst>
                  <a:gd name="T0" fmla="*/ 102 w 255"/>
                  <a:gd name="T1" fmla="*/ 0 h 205"/>
                  <a:gd name="T2" fmla="*/ 154 w 255"/>
                  <a:gd name="T3" fmla="*/ 0 h 205"/>
                  <a:gd name="T4" fmla="*/ 181 w 255"/>
                  <a:gd name="T5" fmla="*/ 4 h 205"/>
                  <a:gd name="T6" fmla="*/ 205 w 255"/>
                  <a:gd name="T7" fmla="*/ 14 h 205"/>
                  <a:gd name="T8" fmla="*/ 225 w 255"/>
                  <a:gd name="T9" fmla="*/ 30 h 205"/>
                  <a:gd name="T10" fmla="*/ 241 w 255"/>
                  <a:gd name="T11" fmla="*/ 51 h 205"/>
                  <a:gd name="T12" fmla="*/ 251 w 255"/>
                  <a:gd name="T13" fmla="*/ 76 h 205"/>
                  <a:gd name="T14" fmla="*/ 255 w 255"/>
                  <a:gd name="T15" fmla="*/ 103 h 205"/>
                  <a:gd name="T16" fmla="*/ 251 w 255"/>
                  <a:gd name="T17" fmla="*/ 130 h 205"/>
                  <a:gd name="T18" fmla="*/ 241 w 255"/>
                  <a:gd name="T19" fmla="*/ 155 h 205"/>
                  <a:gd name="T20" fmla="*/ 225 w 255"/>
                  <a:gd name="T21" fmla="*/ 175 h 205"/>
                  <a:gd name="T22" fmla="*/ 205 w 255"/>
                  <a:gd name="T23" fmla="*/ 191 h 205"/>
                  <a:gd name="T24" fmla="*/ 181 w 255"/>
                  <a:gd name="T25" fmla="*/ 202 h 205"/>
                  <a:gd name="T26" fmla="*/ 154 w 255"/>
                  <a:gd name="T27" fmla="*/ 205 h 205"/>
                  <a:gd name="T28" fmla="*/ 102 w 255"/>
                  <a:gd name="T29" fmla="*/ 205 h 205"/>
                  <a:gd name="T30" fmla="*/ 75 w 255"/>
                  <a:gd name="T31" fmla="*/ 202 h 205"/>
                  <a:gd name="T32" fmla="*/ 50 w 255"/>
                  <a:gd name="T33" fmla="*/ 191 h 205"/>
                  <a:gd name="T34" fmla="*/ 30 w 255"/>
                  <a:gd name="T35" fmla="*/ 175 h 205"/>
                  <a:gd name="T36" fmla="*/ 13 w 255"/>
                  <a:gd name="T37" fmla="*/ 155 h 205"/>
                  <a:gd name="T38" fmla="*/ 3 w 255"/>
                  <a:gd name="T39" fmla="*/ 130 h 205"/>
                  <a:gd name="T40" fmla="*/ 0 w 255"/>
                  <a:gd name="T41" fmla="*/ 103 h 205"/>
                  <a:gd name="T42" fmla="*/ 3 w 255"/>
                  <a:gd name="T43" fmla="*/ 76 h 205"/>
                  <a:gd name="T44" fmla="*/ 13 w 255"/>
                  <a:gd name="T45" fmla="*/ 51 h 205"/>
                  <a:gd name="T46" fmla="*/ 30 w 255"/>
                  <a:gd name="T47" fmla="*/ 30 h 205"/>
                  <a:gd name="T48" fmla="*/ 50 w 255"/>
                  <a:gd name="T49" fmla="*/ 14 h 205"/>
                  <a:gd name="T50" fmla="*/ 75 w 255"/>
                  <a:gd name="T51" fmla="*/ 4 h 205"/>
                  <a:gd name="T52" fmla="*/ 102 w 255"/>
                  <a:gd name="T53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55" h="205">
                    <a:moveTo>
                      <a:pt x="102" y="0"/>
                    </a:moveTo>
                    <a:lnTo>
                      <a:pt x="154" y="0"/>
                    </a:lnTo>
                    <a:lnTo>
                      <a:pt x="181" y="4"/>
                    </a:lnTo>
                    <a:lnTo>
                      <a:pt x="205" y="14"/>
                    </a:lnTo>
                    <a:lnTo>
                      <a:pt x="225" y="30"/>
                    </a:lnTo>
                    <a:lnTo>
                      <a:pt x="241" y="51"/>
                    </a:lnTo>
                    <a:lnTo>
                      <a:pt x="251" y="76"/>
                    </a:lnTo>
                    <a:lnTo>
                      <a:pt x="255" y="103"/>
                    </a:lnTo>
                    <a:lnTo>
                      <a:pt x="251" y="130"/>
                    </a:lnTo>
                    <a:lnTo>
                      <a:pt x="241" y="155"/>
                    </a:lnTo>
                    <a:lnTo>
                      <a:pt x="225" y="175"/>
                    </a:lnTo>
                    <a:lnTo>
                      <a:pt x="205" y="191"/>
                    </a:lnTo>
                    <a:lnTo>
                      <a:pt x="181" y="202"/>
                    </a:lnTo>
                    <a:lnTo>
                      <a:pt x="154" y="205"/>
                    </a:lnTo>
                    <a:lnTo>
                      <a:pt x="102" y="205"/>
                    </a:lnTo>
                    <a:lnTo>
                      <a:pt x="75" y="202"/>
                    </a:lnTo>
                    <a:lnTo>
                      <a:pt x="50" y="191"/>
                    </a:lnTo>
                    <a:lnTo>
                      <a:pt x="30" y="175"/>
                    </a:lnTo>
                    <a:lnTo>
                      <a:pt x="13" y="155"/>
                    </a:lnTo>
                    <a:lnTo>
                      <a:pt x="3" y="130"/>
                    </a:lnTo>
                    <a:lnTo>
                      <a:pt x="0" y="103"/>
                    </a:lnTo>
                    <a:lnTo>
                      <a:pt x="3" y="76"/>
                    </a:lnTo>
                    <a:lnTo>
                      <a:pt x="13" y="51"/>
                    </a:lnTo>
                    <a:lnTo>
                      <a:pt x="30" y="30"/>
                    </a:lnTo>
                    <a:lnTo>
                      <a:pt x="50" y="14"/>
                    </a:lnTo>
                    <a:lnTo>
                      <a:pt x="75" y="4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11">
                <a:extLst>
                  <a:ext uri="{FF2B5EF4-FFF2-40B4-BE49-F238E27FC236}">
                    <a16:creationId xmlns:a16="http://schemas.microsoft.com/office/drawing/2014/main" id="{5820A151-0054-4F05-BB0A-EB4C1E2D8A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326" y="2568576"/>
                <a:ext cx="192088" cy="192088"/>
              </a:xfrm>
              <a:custGeom>
                <a:avLst/>
                <a:gdLst>
                  <a:gd name="T0" fmla="*/ 101 w 241"/>
                  <a:gd name="T1" fmla="*/ 0 h 241"/>
                  <a:gd name="T2" fmla="*/ 127 w 241"/>
                  <a:gd name="T3" fmla="*/ 4 h 241"/>
                  <a:gd name="T4" fmla="*/ 152 w 241"/>
                  <a:gd name="T5" fmla="*/ 15 h 241"/>
                  <a:gd name="T6" fmla="*/ 173 w 241"/>
                  <a:gd name="T7" fmla="*/ 32 h 241"/>
                  <a:gd name="T8" fmla="*/ 209 w 241"/>
                  <a:gd name="T9" fmla="*/ 68 h 241"/>
                  <a:gd name="T10" fmla="*/ 226 w 241"/>
                  <a:gd name="T11" fmla="*/ 89 h 241"/>
                  <a:gd name="T12" fmla="*/ 236 w 241"/>
                  <a:gd name="T13" fmla="*/ 114 h 241"/>
                  <a:gd name="T14" fmla="*/ 241 w 241"/>
                  <a:gd name="T15" fmla="*/ 140 h 241"/>
                  <a:gd name="T16" fmla="*/ 236 w 241"/>
                  <a:gd name="T17" fmla="*/ 164 h 241"/>
                  <a:gd name="T18" fmla="*/ 226 w 241"/>
                  <a:gd name="T19" fmla="*/ 188 h 241"/>
                  <a:gd name="T20" fmla="*/ 209 w 241"/>
                  <a:gd name="T21" fmla="*/ 210 h 241"/>
                  <a:gd name="T22" fmla="*/ 188 w 241"/>
                  <a:gd name="T23" fmla="*/ 227 h 241"/>
                  <a:gd name="T24" fmla="*/ 163 w 241"/>
                  <a:gd name="T25" fmla="*/ 237 h 241"/>
                  <a:gd name="T26" fmla="*/ 137 w 241"/>
                  <a:gd name="T27" fmla="*/ 241 h 241"/>
                  <a:gd name="T28" fmla="*/ 113 w 241"/>
                  <a:gd name="T29" fmla="*/ 237 h 241"/>
                  <a:gd name="T30" fmla="*/ 89 w 241"/>
                  <a:gd name="T31" fmla="*/ 227 h 241"/>
                  <a:gd name="T32" fmla="*/ 66 w 241"/>
                  <a:gd name="T33" fmla="*/ 210 h 241"/>
                  <a:gd name="T34" fmla="*/ 31 w 241"/>
                  <a:gd name="T35" fmla="*/ 174 h 241"/>
                  <a:gd name="T36" fmla="*/ 14 w 241"/>
                  <a:gd name="T37" fmla="*/ 152 h 241"/>
                  <a:gd name="T38" fmla="*/ 3 w 241"/>
                  <a:gd name="T39" fmla="*/ 128 h 241"/>
                  <a:gd name="T40" fmla="*/ 0 w 241"/>
                  <a:gd name="T41" fmla="*/ 104 h 241"/>
                  <a:gd name="T42" fmla="*/ 3 w 241"/>
                  <a:gd name="T43" fmla="*/ 78 h 241"/>
                  <a:gd name="T44" fmla="*/ 14 w 241"/>
                  <a:gd name="T45" fmla="*/ 53 h 241"/>
                  <a:gd name="T46" fmla="*/ 31 w 241"/>
                  <a:gd name="T47" fmla="*/ 32 h 241"/>
                  <a:gd name="T48" fmla="*/ 53 w 241"/>
                  <a:gd name="T49" fmla="*/ 15 h 241"/>
                  <a:gd name="T50" fmla="*/ 77 w 241"/>
                  <a:gd name="T51" fmla="*/ 4 h 241"/>
                  <a:gd name="T52" fmla="*/ 101 w 241"/>
                  <a:gd name="T5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41" h="241">
                    <a:moveTo>
                      <a:pt x="101" y="0"/>
                    </a:moveTo>
                    <a:lnTo>
                      <a:pt x="127" y="4"/>
                    </a:lnTo>
                    <a:lnTo>
                      <a:pt x="152" y="15"/>
                    </a:lnTo>
                    <a:lnTo>
                      <a:pt x="173" y="32"/>
                    </a:lnTo>
                    <a:lnTo>
                      <a:pt x="209" y="68"/>
                    </a:lnTo>
                    <a:lnTo>
                      <a:pt x="226" y="89"/>
                    </a:lnTo>
                    <a:lnTo>
                      <a:pt x="236" y="114"/>
                    </a:lnTo>
                    <a:lnTo>
                      <a:pt x="241" y="140"/>
                    </a:lnTo>
                    <a:lnTo>
                      <a:pt x="236" y="164"/>
                    </a:lnTo>
                    <a:lnTo>
                      <a:pt x="226" y="188"/>
                    </a:lnTo>
                    <a:lnTo>
                      <a:pt x="209" y="210"/>
                    </a:lnTo>
                    <a:lnTo>
                      <a:pt x="188" y="227"/>
                    </a:lnTo>
                    <a:lnTo>
                      <a:pt x="163" y="237"/>
                    </a:lnTo>
                    <a:lnTo>
                      <a:pt x="137" y="241"/>
                    </a:lnTo>
                    <a:lnTo>
                      <a:pt x="113" y="237"/>
                    </a:lnTo>
                    <a:lnTo>
                      <a:pt x="89" y="227"/>
                    </a:lnTo>
                    <a:lnTo>
                      <a:pt x="66" y="210"/>
                    </a:lnTo>
                    <a:lnTo>
                      <a:pt x="31" y="174"/>
                    </a:lnTo>
                    <a:lnTo>
                      <a:pt x="14" y="152"/>
                    </a:lnTo>
                    <a:lnTo>
                      <a:pt x="3" y="128"/>
                    </a:lnTo>
                    <a:lnTo>
                      <a:pt x="0" y="104"/>
                    </a:lnTo>
                    <a:lnTo>
                      <a:pt x="3" y="78"/>
                    </a:lnTo>
                    <a:lnTo>
                      <a:pt x="14" y="53"/>
                    </a:lnTo>
                    <a:lnTo>
                      <a:pt x="31" y="32"/>
                    </a:lnTo>
                    <a:lnTo>
                      <a:pt x="53" y="15"/>
                    </a:lnTo>
                    <a:lnTo>
                      <a:pt x="77" y="4"/>
                    </a:lnTo>
                    <a:lnTo>
                      <a:pt x="101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2">
                <a:extLst>
                  <a:ext uri="{FF2B5EF4-FFF2-40B4-BE49-F238E27FC236}">
                    <a16:creationId xmlns:a16="http://schemas.microsoft.com/office/drawing/2014/main" id="{72BEDE18-2560-44FB-B971-97C4C3A86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1326" y="4492626"/>
                <a:ext cx="192088" cy="190500"/>
              </a:xfrm>
              <a:custGeom>
                <a:avLst/>
                <a:gdLst>
                  <a:gd name="T0" fmla="*/ 137 w 241"/>
                  <a:gd name="T1" fmla="*/ 0 h 240"/>
                  <a:gd name="T2" fmla="*/ 163 w 241"/>
                  <a:gd name="T3" fmla="*/ 3 h 240"/>
                  <a:gd name="T4" fmla="*/ 188 w 241"/>
                  <a:gd name="T5" fmla="*/ 13 h 240"/>
                  <a:gd name="T6" fmla="*/ 209 w 241"/>
                  <a:gd name="T7" fmla="*/ 30 h 240"/>
                  <a:gd name="T8" fmla="*/ 226 w 241"/>
                  <a:gd name="T9" fmla="*/ 51 h 240"/>
                  <a:gd name="T10" fmla="*/ 236 w 241"/>
                  <a:gd name="T11" fmla="*/ 76 h 240"/>
                  <a:gd name="T12" fmla="*/ 241 w 241"/>
                  <a:gd name="T13" fmla="*/ 102 h 240"/>
                  <a:gd name="T14" fmla="*/ 236 w 241"/>
                  <a:gd name="T15" fmla="*/ 128 h 240"/>
                  <a:gd name="T16" fmla="*/ 226 w 241"/>
                  <a:gd name="T17" fmla="*/ 152 h 240"/>
                  <a:gd name="T18" fmla="*/ 209 w 241"/>
                  <a:gd name="T19" fmla="*/ 174 h 240"/>
                  <a:gd name="T20" fmla="*/ 173 w 241"/>
                  <a:gd name="T21" fmla="*/ 209 h 240"/>
                  <a:gd name="T22" fmla="*/ 152 w 241"/>
                  <a:gd name="T23" fmla="*/ 227 h 240"/>
                  <a:gd name="T24" fmla="*/ 127 w 241"/>
                  <a:gd name="T25" fmla="*/ 237 h 240"/>
                  <a:gd name="T26" fmla="*/ 101 w 241"/>
                  <a:gd name="T27" fmla="*/ 240 h 240"/>
                  <a:gd name="T28" fmla="*/ 77 w 241"/>
                  <a:gd name="T29" fmla="*/ 237 h 240"/>
                  <a:gd name="T30" fmla="*/ 53 w 241"/>
                  <a:gd name="T31" fmla="*/ 227 h 240"/>
                  <a:gd name="T32" fmla="*/ 31 w 241"/>
                  <a:gd name="T33" fmla="*/ 209 h 240"/>
                  <a:gd name="T34" fmla="*/ 14 w 241"/>
                  <a:gd name="T35" fmla="*/ 188 h 240"/>
                  <a:gd name="T36" fmla="*/ 3 w 241"/>
                  <a:gd name="T37" fmla="*/ 164 h 240"/>
                  <a:gd name="T38" fmla="*/ 0 w 241"/>
                  <a:gd name="T39" fmla="*/ 138 h 240"/>
                  <a:gd name="T40" fmla="*/ 3 w 241"/>
                  <a:gd name="T41" fmla="*/ 112 h 240"/>
                  <a:gd name="T42" fmla="*/ 14 w 241"/>
                  <a:gd name="T43" fmla="*/ 87 h 240"/>
                  <a:gd name="T44" fmla="*/ 31 w 241"/>
                  <a:gd name="T45" fmla="*/ 66 h 240"/>
                  <a:gd name="T46" fmla="*/ 66 w 241"/>
                  <a:gd name="T47" fmla="*/ 30 h 240"/>
                  <a:gd name="T48" fmla="*/ 89 w 241"/>
                  <a:gd name="T49" fmla="*/ 13 h 240"/>
                  <a:gd name="T50" fmla="*/ 113 w 241"/>
                  <a:gd name="T51" fmla="*/ 3 h 240"/>
                  <a:gd name="T52" fmla="*/ 137 w 241"/>
                  <a:gd name="T53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41" h="240">
                    <a:moveTo>
                      <a:pt x="137" y="0"/>
                    </a:moveTo>
                    <a:lnTo>
                      <a:pt x="163" y="3"/>
                    </a:lnTo>
                    <a:lnTo>
                      <a:pt x="188" y="13"/>
                    </a:lnTo>
                    <a:lnTo>
                      <a:pt x="209" y="30"/>
                    </a:lnTo>
                    <a:lnTo>
                      <a:pt x="226" y="51"/>
                    </a:lnTo>
                    <a:lnTo>
                      <a:pt x="236" y="76"/>
                    </a:lnTo>
                    <a:lnTo>
                      <a:pt x="241" y="102"/>
                    </a:lnTo>
                    <a:lnTo>
                      <a:pt x="236" y="128"/>
                    </a:lnTo>
                    <a:lnTo>
                      <a:pt x="226" y="152"/>
                    </a:lnTo>
                    <a:lnTo>
                      <a:pt x="209" y="174"/>
                    </a:lnTo>
                    <a:lnTo>
                      <a:pt x="173" y="209"/>
                    </a:lnTo>
                    <a:lnTo>
                      <a:pt x="152" y="227"/>
                    </a:lnTo>
                    <a:lnTo>
                      <a:pt x="127" y="237"/>
                    </a:lnTo>
                    <a:lnTo>
                      <a:pt x="101" y="240"/>
                    </a:lnTo>
                    <a:lnTo>
                      <a:pt x="77" y="237"/>
                    </a:lnTo>
                    <a:lnTo>
                      <a:pt x="53" y="227"/>
                    </a:lnTo>
                    <a:lnTo>
                      <a:pt x="31" y="209"/>
                    </a:lnTo>
                    <a:lnTo>
                      <a:pt x="14" y="188"/>
                    </a:lnTo>
                    <a:lnTo>
                      <a:pt x="3" y="164"/>
                    </a:lnTo>
                    <a:lnTo>
                      <a:pt x="0" y="138"/>
                    </a:lnTo>
                    <a:lnTo>
                      <a:pt x="3" y="112"/>
                    </a:lnTo>
                    <a:lnTo>
                      <a:pt x="14" y="87"/>
                    </a:lnTo>
                    <a:lnTo>
                      <a:pt x="31" y="66"/>
                    </a:lnTo>
                    <a:lnTo>
                      <a:pt x="66" y="30"/>
                    </a:lnTo>
                    <a:lnTo>
                      <a:pt x="89" y="13"/>
                    </a:lnTo>
                    <a:lnTo>
                      <a:pt x="113" y="3"/>
                    </a:lnTo>
                    <a:lnTo>
                      <a:pt x="137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3">
                <a:extLst>
                  <a:ext uri="{FF2B5EF4-FFF2-40B4-BE49-F238E27FC236}">
                    <a16:creationId xmlns:a16="http://schemas.microsoft.com/office/drawing/2014/main" id="{286AA86C-BCB5-4D9F-94B6-5DFFF1321B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3788" y="2568576"/>
                <a:ext cx="190500" cy="192088"/>
              </a:xfrm>
              <a:custGeom>
                <a:avLst/>
                <a:gdLst>
                  <a:gd name="T0" fmla="*/ 137 w 239"/>
                  <a:gd name="T1" fmla="*/ 0 h 241"/>
                  <a:gd name="T2" fmla="*/ 163 w 239"/>
                  <a:gd name="T3" fmla="*/ 4 h 241"/>
                  <a:gd name="T4" fmla="*/ 186 w 239"/>
                  <a:gd name="T5" fmla="*/ 15 h 241"/>
                  <a:gd name="T6" fmla="*/ 209 w 239"/>
                  <a:gd name="T7" fmla="*/ 32 h 241"/>
                  <a:gd name="T8" fmla="*/ 226 w 239"/>
                  <a:gd name="T9" fmla="*/ 53 h 241"/>
                  <a:gd name="T10" fmla="*/ 236 w 239"/>
                  <a:gd name="T11" fmla="*/ 78 h 241"/>
                  <a:gd name="T12" fmla="*/ 239 w 239"/>
                  <a:gd name="T13" fmla="*/ 104 h 241"/>
                  <a:gd name="T14" fmla="*/ 236 w 239"/>
                  <a:gd name="T15" fmla="*/ 128 h 241"/>
                  <a:gd name="T16" fmla="*/ 226 w 239"/>
                  <a:gd name="T17" fmla="*/ 152 h 241"/>
                  <a:gd name="T18" fmla="*/ 209 w 239"/>
                  <a:gd name="T19" fmla="*/ 174 h 241"/>
                  <a:gd name="T20" fmla="*/ 173 w 239"/>
                  <a:gd name="T21" fmla="*/ 210 h 241"/>
                  <a:gd name="T22" fmla="*/ 152 w 239"/>
                  <a:gd name="T23" fmla="*/ 227 h 241"/>
                  <a:gd name="T24" fmla="*/ 127 w 239"/>
                  <a:gd name="T25" fmla="*/ 237 h 241"/>
                  <a:gd name="T26" fmla="*/ 102 w 239"/>
                  <a:gd name="T27" fmla="*/ 241 h 241"/>
                  <a:gd name="T28" fmla="*/ 76 w 239"/>
                  <a:gd name="T29" fmla="*/ 237 h 241"/>
                  <a:gd name="T30" fmla="*/ 51 w 239"/>
                  <a:gd name="T31" fmla="*/ 227 h 241"/>
                  <a:gd name="T32" fmla="*/ 30 w 239"/>
                  <a:gd name="T33" fmla="*/ 210 h 241"/>
                  <a:gd name="T34" fmla="*/ 13 w 239"/>
                  <a:gd name="T35" fmla="*/ 188 h 241"/>
                  <a:gd name="T36" fmla="*/ 3 w 239"/>
                  <a:gd name="T37" fmla="*/ 164 h 241"/>
                  <a:gd name="T38" fmla="*/ 0 w 239"/>
                  <a:gd name="T39" fmla="*/ 140 h 241"/>
                  <a:gd name="T40" fmla="*/ 3 w 239"/>
                  <a:gd name="T41" fmla="*/ 114 h 241"/>
                  <a:gd name="T42" fmla="*/ 13 w 239"/>
                  <a:gd name="T43" fmla="*/ 89 h 241"/>
                  <a:gd name="T44" fmla="*/ 30 w 239"/>
                  <a:gd name="T45" fmla="*/ 68 h 241"/>
                  <a:gd name="T46" fmla="*/ 66 w 239"/>
                  <a:gd name="T47" fmla="*/ 32 h 241"/>
                  <a:gd name="T48" fmla="*/ 87 w 239"/>
                  <a:gd name="T49" fmla="*/ 15 h 241"/>
                  <a:gd name="T50" fmla="*/ 112 w 239"/>
                  <a:gd name="T51" fmla="*/ 4 h 241"/>
                  <a:gd name="T52" fmla="*/ 137 w 239"/>
                  <a:gd name="T53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9" h="241">
                    <a:moveTo>
                      <a:pt x="137" y="0"/>
                    </a:moveTo>
                    <a:lnTo>
                      <a:pt x="163" y="4"/>
                    </a:lnTo>
                    <a:lnTo>
                      <a:pt x="186" y="15"/>
                    </a:lnTo>
                    <a:lnTo>
                      <a:pt x="209" y="32"/>
                    </a:lnTo>
                    <a:lnTo>
                      <a:pt x="226" y="53"/>
                    </a:lnTo>
                    <a:lnTo>
                      <a:pt x="236" y="78"/>
                    </a:lnTo>
                    <a:lnTo>
                      <a:pt x="239" y="104"/>
                    </a:lnTo>
                    <a:lnTo>
                      <a:pt x="236" y="128"/>
                    </a:lnTo>
                    <a:lnTo>
                      <a:pt x="226" y="152"/>
                    </a:lnTo>
                    <a:lnTo>
                      <a:pt x="209" y="174"/>
                    </a:lnTo>
                    <a:lnTo>
                      <a:pt x="173" y="210"/>
                    </a:lnTo>
                    <a:lnTo>
                      <a:pt x="152" y="227"/>
                    </a:lnTo>
                    <a:lnTo>
                      <a:pt x="127" y="237"/>
                    </a:lnTo>
                    <a:lnTo>
                      <a:pt x="102" y="241"/>
                    </a:lnTo>
                    <a:lnTo>
                      <a:pt x="76" y="237"/>
                    </a:lnTo>
                    <a:lnTo>
                      <a:pt x="51" y="227"/>
                    </a:lnTo>
                    <a:lnTo>
                      <a:pt x="30" y="210"/>
                    </a:lnTo>
                    <a:lnTo>
                      <a:pt x="13" y="188"/>
                    </a:lnTo>
                    <a:lnTo>
                      <a:pt x="3" y="164"/>
                    </a:lnTo>
                    <a:lnTo>
                      <a:pt x="0" y="140"/>
                    </a:lnTo>
                    <a:lnTo>
                      <a:pt x="3" y="114"/>
                    </a:lnTo>
                    <a:lnTo>
                      <a:pt x="13" y="89"/>
                    </a:lnTo>
                    <a:lnTo>
                      <a:pt x="30" y="68"/>
                    </a:lnTo>
                    <a:lnTo>
                      <a:pt x="66" y="32"/>
                    </a:lnTo>
                    <a:lnTo>
                      <a:pt x="87" y="15"/>
                    </a:lnTo>
                    <a:lnTo>
                      <a:pt x="112" y="4"/>
                    </a:lnTo>
                    <a:lnTo>
                      <a:pt x="137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5">
                <a:extLst>
                  <a:ext uri="{FF2B5EF4-FFF2-40B4-BE49-F238E27FC236}">
                    <a16:creationId xmlns:a16="http://schemas.microsoft.com/office/drawing/2014/main" id="{7FAA0B54-364D-4B19-939F-F3A85D9A5A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80113" y="1755776"/>
                <a:ext cx="3736975" cy="3741738"/>
              </a:xfrm>
              <a:custGeom>
                <a:avLst/>
                <a:gdLst>
                  <a:gd name="T0" fmla="*/ 1936 w 4707"/>
                  <a:gd name="T1" fmla="*/ 244 h 4714"/>
                  <a:gd name="T2" fmla="*/ 1426 w 4707"/>
                  <a:gd name="T3" fmla="*/ 415 h 4714"/>
                  <a:gd name="T4" fmla="*/ 980 w 4707"/>
                  <a:gd name="T5" fmla="*/ 701 h 4714"/>
                  <a:gd name="T6" fmla="*/ 618 w 4707"/>
                  <a:gd name="T7" fmla="*/ 1086 h 4714"/>
                  <a:gd name="T8" fmla="*/ 360 w 4707"/>
                  <a:gd name="T9" fmla="*/ 1550 h 4714"/>
                  <a:gd name="T10" fmla="*/ 222 w 4707"/>
                  <a:gd name="T11" fmla="*/ 2076 h 4714"/>
                  <a:gd name="T12" fmla="*/ 222 w 4707"/>
                  <a:gd name="T13" fmla="*/ 2637 h 4714"/>
                  <a:gd name="T14" fmla="*/ 360 w 4707"/>
                  <a:gd name="T15" fmla="*/ 3163 h 4714"/>
                  <a:gd name="T16" fmla="*/ 618 w 4707"/>
                  <a:gd name="T17" fmla="*/ 3628 h 4714"/>
                  <a:gd name="T18" fmla="*/ 980 w 4707"/>
                  <a:gd name="T19" fmla="*/ 4012 h 4714"/>
                  <a:gd name="T20" fmla="*/ 1426 w 4707"/>
                  <a:gd name="T21" fmla="*/ 4299 h 4714"/>
                  <a:gd name="T22" fmla="*/ 1936 w 4707"/>
                  <a:gd name="T23" fmla="*/ 4469 h 4714"/>
                  <a:gd name="T24" fmla="*/ 2494 w 4707"/>
                  <a:gd name="T25" fmla="*/ 4504 h 4714"/>
                  <a:gd name="T26" fmla="*/ 3032 w 4707"/>
                  <a:gd name="T27" fmla="*/ 4400 h 4714"/>
                  <a:gd name="T28" fmla="*/ 3514 w 4707"/>
                  <a:gd name="T29" fmla="*/ 4168 h 4714"/>
                  <a:gd name="T30" fmla="*/ 3919 w 4707"/>
                  <a:gd name="T31" fmla="*/ 3831 h 4714"/>
                  <a:gd name="T32" fmla="*/ 4231 w 4707"/>
                  <a:gd name="T33" fmla="*/ 3404 h 4714"/>
                  <a:gd name="T34" fmla="*/ 4432 w 4707"/>
                  <a:gd name="T35" fmla="*/ 2907 h 4714"/>
                  <a:gd name="T36" fmla="*/ 4502 w 4707"/>
                  <a:gd name="T37" fmla="*/ 2357 h 4714"/>
                  <a:gd name="T38" fmla="*/ 4432 w 4707"/>
                  <a:gd name="T39" fmla="*/ 1807 h 4714"/>
                  <a:gd name="T40" fmla="*/ 4231 w 4707"/>
                  <a:gd name="T41" fmla="*/ 1309 h 4714"/>
                  <a:gd name="T42" fmla="*/ 3919 w 4707"/>
                  <a:gd name="T43" fmla="*/ 882 h 4714"/>
                  <a:gd name="T44" fmla="*/ 3514 w 4707"/>
                  <a:gd name="T45" fmla="*/ 544 h 4714"/>
                  <a:gd name="T46" fmla="*/ 3032 w 4707"/>
                  <a:gd name="T47" fmla="*/ 315 h 4714"/>
                  <a:gd name="T48" fmla="*/ 2494 w 4707"/>
                  <a:gd name="T49" fmla="*/ 210 h 4714"/>
                  <a:gd name="T50" fmla="*/ 2638 w 4707"/>
                  <a:gd name="T51" fmla="*/ 17 h 4714"/>
                  <a:gd name="T52" fmla="*/ 3174 w 4707"/>
                  <a:gd name="T53" fmla="*/ 147 h 4714"/>
                  <a:gd name="T54" fmla="*/ 3655 w 4707"/>
                  <a:gd name="T55" fmla="*/ 392 h 4714"/>
                  <a:gd name="T56" fmla="*/ 4065 w 4707"/>
                  <a:gd name="T57" fmla="*/ 738 h 4714"/>
                  <a:gd name="T58" fmla="*/ 4386 w 4707"/>
                  <a:gd name="T59" fmla="*/ 1168 h 4714"/>
                  <a:gd name="T60" fmla="*/ 4604 w 4707"/>
                  <a:gd name="T61" fmla="*/ 1665 h 4714"/>
                  <a:gd name="T62" fmla="*/ 4703 w 4707"/>
                  <a:gd name="T63" fmla="*/ 2213 h 4714"/>
                  <a:gd name="T64" fmla="*/ 4669 w 4707"/>
                  <a:gd name="T65" fmla="*/ 2781 h 4714"/>
                  <a:gd name="T66" fmla="*/ 4508 w 4707"/>
                  <a:gd name="T67" fmla="*/ 3305 h 4714"/>
                  <a:gd name="T68" fmla="*/ 4237 w 4707"/>
                  <a:gd name="T69" fmla="*/ 3771 h 4714"/>
                  <a:gd name="T70" fmla="*/ 3870 w 4707"/>
                  <a:gd name="T71" fmla="*/ 4160 h 4714"/>
                  <a:gd name="T72" fmla="*/ 3422 w 4707"/>
                  <a:gd name="T73" fmla="*/ 4457 h 4714"/>
                  <a:gd name="T74" fmla="*/ 2912 w 4707"/>
                  <a:gd name="T75" fmla="*/ 4647 h 4714"/>
                  <a:gd name="T76" fmla="*/ 2354 w 4707"/>
                  <a:gd name="T77" fmla="*/ 4714 h 4714"/>
                  <a:gd name="T78" fmla="*/ 1794 w 4707"/>
                  <a:gd name="T79" fmla="*/ 4647 h 4714"/>
                  <a:gd name="T80" fmla="*/ 1284 w 4707"/>
                  <a:gd name="T81" fmla="*/ 4457 h 4714"/>
                  <a:gd name="T82" fmla="*/ 836 w 4707"/>
                  <a:gd name="T83" fmla="*/ 4160 h 4714"/>
                  <a:gd name="T84" fmla="*/ 469 w 4707"/>
                  <a:gd name="T85" fmla="*/ 3771 h 4714"/>
                  <a:gd name="T86" fmla="*/ 198 w 4707"/>
                  <a:gd name="T87" fmla="*/ 3305 h 4714"/>
                  <a:gd name="T88" fmla="*/ 37 w 4707"/>
                  <a:gd name="T89" fmla="*/ 2781 h 4714"/>
                  <a:gd name="T90" fmla="*/ 4 w 4707"/>
                  <a:gd name="T91" fmla="*/ 2213 h 4714"/>
                  <a:gd name="T92" fmla="*/ 103 w 4707"/>
                  <a:gd name="T93" fmla="*/ 1665 h 4714"/>
                  <a:gd name="T94" fmla="*/ 321 w 4707"/>
                  <a:gd name="T95" fmla="*/ 1168 h 4714"/>
                  <a:gd name="T96" fmla="*/ 643 w 4707"/>
                  <a:gd name="T97" fmla="*/ 738 h 4714"/>
                  <a:gd name="T98" fmla="*/ 1051 w 4707"/>
                  <a:gd name="T99" fmla="*/ 392 h 4714"/>
                  <a:gd name="T100" fmla="*/ 1532 w 4707"/>
                  <a:gd name="T101" fmla="*/ 147 h 4714"/>
                  <a:gd name="T102" fmla="*/ 2068 w 4707"/>
                  <a:gd name="T103" fmla="*/ 17 h 47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707" h="4714">
                    <a:moveTo>
                      <a:pt x="2354" y="204"/>
                    </a:moveTo>
                    <a:lnTo>
                      <a:pt x="2212" y="210"/>
                    </a:lnTo>
                    <a:lnTo>
                      <a:pt x="2073" y="223"/>
                    </a:lnTo>
                    <a:lnTo>
                      <a:pt x="1936" y="244"/>
                    </a:lnTo>
                    <a:lnTo>
                      <a:pt x="1804" y="276"/>
                    </a:lnTo>
                    <a:lnTo>
                      <a:pt x="1674" y="315"/>
                    </a:lnTo>
                    <a:lnTo>
                      <a:pt x="1548" y="361"/>
                    </a:lnTo>
                    <a:lnTo>
                      <a:pt x="1426" y="415"/>
                    </a:lnTo>
                    <a:lnTo>
                      <a:pt x="1307" y="477"/>
                    </a:lnTo>
                    <a:lnTo>
                      <a:pt x="1193" y="544"/>
                    </a:lnTo>
                    <a:lnTo>
                      <a:pt x="1084" y="619"/>
                    </a:lnTo>
                    <a:lnTo>
                      <a:pt x="980" y="701"/>
                    </a:lnTo>
                    <a:lnTo>
                      <a:pt x="881" y="789"/>
                    </a:lnTo>
                    <a:lnTo>
                      <a:pt x="787" y="882"/>
                    </a:lnTo>
                    <a:lnTo>
                      <a:pt x="700" y="981"/>
                    </a:lnTo>
                    <a:lnTo>
                      <a:pt x="618" y="1086"/>
                    </a:lnTo>
                    <a:lnTo>
                      <a:pt x="544" y="1195"/>
                    </a:lnTo>
                    <a:lnTo>
                      <a:pt x="475" y="1309"/>
                    </a:lnTo>
                    <a:lnTo>
                      <a:pt x="415" y="1428"/>
                    </a:lnTo>
                    <a:lnTo>
                      <a:pt x="360" y="1550"/>
                    </a:lnTo>
                    <a:lnTo>
                      <a:pt x="314" y="1676"/>
                    </a:lnTo>
                    <a:lnTo>
                      <a:pt x="275" y="1807"/>
                    </a:lnTo>
                    <a:lnTo>
                      <a:pt x="244" y="1939"/>
                    </a:lnTo>
                    <a:lnTo>
                      <a:pt x="222" y="2076"/>
                    </a:lnTo>
                    <a:lnTo>
                      <a:pt x="208" y="2215"/>
                    </a:lnTo>
                    <a:lnTo>
                      <a:pt x="204" y="2357"/>
                    </a:lnTo>
                    <a:lnTo>
                      <a:pt x="208" y="2498"/>
                    </a:lnTo>
                    <a:lnTo>
                      <a:pt x="222" y="2637"/>
                    </a:lnTo>
                    <a:lnTo>
                      <a:pt x="244" y="2774"/>
                    </a:lnTo>
                    <a:lnTo>
                      <a:pt x="275" y="2907"/>
                    </a:lnTo>
                    <a:lnTo>
                      <a:pt x="314" y="3037"/>
                    </a:lnTo>
                    <a:lnTo>
                      <a:pt x="360" y="3163"/>
                    </a:lnTo>
                    <a:lnTo>
                      <a:pt x="415" y="3286"/>
                    </a:lnTo>
                    <a:lnTo>
                      <a:pt x="475" y="3404"/>
                    </a:lnTo>
                    <a:lnTo>
                      <a:pt x="544" y="3519"/>
                    </a:lnTo>
                    <a:lnTo>
                      <a:pt x="618" y="3628"/>
                    </a:lnTo>
                    <a:lnTo>
                      <a:pt x="700" y="3732"/>
                    </a:lnTo>
                    <a:lnTo>
                      <a:pt x="787" y="3831"/>
                    </a:lnTo>
                    <a:lnTo>
                      <a:pt x="881" y="3924"/>
                    </a:lnTo>
                    <a:lnTo>
                      <a:pt x="980" y="4012"/>
                    </a:lnTo>
                    <a:lnTo>
                      <a:pt x="1084" y="4094"/>
                    </a:lnTo>
                    <a:lnTo>
                      <a:pt x="1193" y="4168"/>
                    </a:lnTo>
                    <a:lnTo>
                      <a:pt x="1307" y="4237"/>
                    </a:lnTo>
                    <a:lnTo>
                      <a:pt x="1426" y="4299"/>
                    </a:lnTo>
                    <a:lnTo>
                      <a:pt x="1548" y="4352"/>
                    </a:lnTo>
                    <a:lnTo>
                      <a:pt x="1674" y="4400"/>
                    </a:lnTo>
                    <a:lnTo>
                      <a:pt x="1804" y="4438"/>
                    </a:lnTo>
                    <a:lnTo>
                      <a:pt x="1936" y="4469"/>
                    </a:lnTo>
                    <a:lnTo>
                      <a:pt x="2073" y="4492"/>
                    </a:lnTo>
                    <a:lnTo>
                      <a:pt x="2212" y="4504"/>
                    </a:lnTo>
                    <a:lnTo>
                      <a:pt x="2354" y="4509"/>
                    </a:lnTo>
                    <a:lnTo>
                      <a:pt x="2494" y="4504"/>
                    </a:lnTo>
                    <a:lnTo>
                      <a:pt x="2633" y="4492"/>
                    </a:lnTo>
                    <a:lnTo>
                      <a:pt x="2770" y="4469"/>
                    </a:lnTo>
                    <a:lnTo>
                      <a:pt x="2903" y="4438"/>
                    </a:lnTo>
                    <a:lnTo>
                      <a:pt x="3032" y="4400"/>
                    </a:lnTo>
                    <a:lnTo>
                      <a:pt x="3158" y="4352"/>
                    </a:lnTo>
                    <a:lnTo>
                      <a:pt x="3282" y="4299"/>
                    </a:lnTo>
                    <a:lnTo>
                      <a:pt x="3399" y="4237"/>
                    </a:lnTo>
                    <a:lnTo>
                      <a:pt x="3514" y="4168"/>
                    </a:lnTo>
                    <a:lnTo>
                      <a:pt x="3623" y="4094"/>
                    </a:lnTo>
                    <a:lnTo>
                      <a:pt x="3726" y="4012"/>
                    </a:lnTo>
                    <a:lnTo>
                      <a:pt x="3825" y="3924"/>
                    </a:lnTo>
                    <a:lnTo>
                      <a:pt x="3919" y="3831"/>
                    </a:lnTo>
                    <a:lnTo>
                      <a:pt x="4006" y="3732"/>
                    </a:lnTo>
                    <a:lnTo>
                      <a:pt x="4088" y="3628"/>
                    </a:lnTo>
                    <a:lnTo>
                      <a:pt x="4162" y="3519"/>
                    </a:lnTo>
                    <a:lnTo>
                      <a:pt x="4231" y="3404"/>
                    </a:lnTo>
                    <a:lnTo>
                      <a:pt x="4293" y="3286"/>
                    </a:lnTo>
                    <a:lnTo>
                      <a:pt x="4346" y="3163"/>
                    </a:lnTo>
                    <a:lnTo>
                      <a:pt x="4393" y="3037"/>
                    </a:lnTo>
                    <a:lnTo>
                      <a:pt x="4432" y="2907"/>
                    </a:lnTo>
                    <a:lnTo>
                      <a:pt x="4462" y="2774"/>
                    </a:lnTo>
                    <a:lnTo>
                      <a:pt x="4484" y="2637"/>
                    </a:lnTo>
                    <a:lnTo>
                      <a:pt x="4498" y="2498"/>
                    </a:lnTo>
                    <a:lnTo>
                      <a:pt x="4502" y="2357"/>
                    </a:lnTo>
                    <a:lnTo>
                      <a:pt x="4498" y="2215"/>
                    </a:lnTo>
                    <a:lnTo>
                      <a:pt x="4484" y="2076"/>
                    </a:lnTo>
                    <a:lnTo>
                      <a:pt x="4462" y="1939"/>
                    </a:lnTo>
                    <a:lnTo>
                      <a:pt x="4432" y="1807"/>
                    </a:lnTo>
                    <a:lnTo>
                      <a:pt x="4393" y="1676"/>
                    </a:lnTo>
                    <a:lnTo>
                      <a:pt x="4346" y="1550"/>
                    </a:lnTo>
                    <a:lnTo>
                      <a:pt x="4293" y="1428"/>
                    </a:lnTo>
                    <a:lnTo>
                      <a:pt x="4231" y="1309"/>
                    </a:lnTo>
                    <a:lnTo>
                      <a:pt x="4162" y="1195"/>
                    </a:lnTo>
                    <a:lnTo>
                      <a:pt x="4088" y="1086"/>
                    </a:lnTo>
                    <a:lnTo>
                      <a:pt x="4006" y="981"/>
                    </a:lnTo>
                    <a:lnTo>
                      <a:pt x="3919" y="882"/>
                    </a:lnTo>
                    <a:lnTo>
                      <a:pt x="3825" y="789"/>
                    </a:lnTo>
                    <a:lnTo>
                      <a:pt x="3726" y="701"/>
                    </a:lnTo>
                    <a:lnTo>
                      <a:pt x="3623" y="619"/>
                    </a:lnTo>
                    <a:lnTo>
                      <a:pt x="3514" y="544"/>
                    </a:lnTo>
                    <a:lnTo>
                      <a:pt x="3399" y="477"/>
                    </a:lnTo>
                    <a:lnTo>
                      <a:pt x="3282" y="415"/>
                    </a:lnTo>
                    <a:lnTo>
                      <a:pt x="3158" y="361"/>
                    </a:lnTo>
                    <a:lnTo>
                      <a:pt x="3032" y="315"/>
                    </a:lnTo>
                    <a:lnTo>
                      <a:pt x="2903" y="276"/>
                    </a:lnTo>
                    <a:lnTo>
                      <a:pt x="2770" y="244"/>
                    </a:lnTo>
                    <a:lnTo>
                      <a:pt x="2633" y="223"/>
                    </a:lnTo>
                    <a:lnTo>
                      <a:pt x="2494" y="210"/>
                    </a:lnTo>
                    <a:lnTo>
                      <a:pt x="2354" y="204"/>
                    </a:lnTo>
                    <a:close/>
                    <a:moveTo>
                      <a:pt x="2354" y="0"/>
                    </a:moveTo>
                    <a:lnTo>
                      <a:pt x="2497" y="4"/>
                    </a:lnTo>
                    <a:lnTo>
                      <a:pt x="2638" y="17"/>
                    </a:lnTo>
                    <a:lnTo>
                      <a:pt x="2777" y="37"/>
                    </a:lnTo>
                    <a:lnTo>
                      <a:pt x="2912" y="66"/>
                    </a:lnTo>
                    <a:lnTo>
                      <a:pt x="3045" y="103"/>
                    </a:lnTo>
                    <a:lnTo>
                      <a:pt x="3174" y="147"/>
                    </a:lnTo>
                    <a:lnTo>
                      <a:pt x="3300" y="198"/>
                    </a:lnTo>
                    <a:lnTo>
                      <a:pt x="3422" y="257"/>
                    </a:lnTo>
                    <a:lnTo>
                      <a:pt x="3541" y="322"/>
                    </a:lnTo>
                    <a:lnTo>
                      <a:pt x="3655" y="392"/>
                    </a:lnTo>
                    <a:lnTo>
                      <a:pt x="3765" y="471"/>
                    </a:lnTo>
                    <a:lnTo>
                      <a:pt x="3870" y="554"/>
                    </a:lnTo>
                    <a:lnTo>
                      <a:pt x="3970" y="644"/>
                    </a:lnTo>
                    <a:lnTo>
                      <a:pt x="4065" y="738"/>
                    </a:lnTo>
                    <a:lnTo>
                      <a:pt x="4154" y="839"/>
                    </a:lnTo>
                    <a:lnTo>
                      <a:pt x="4237" y="944"/>
                    </a:lnTo>
                    <a:lnTo>
                      <a:pt x="4314" y="1053"/>
                    </a:lnTo>
                    <a:lnTo>
                      <a:pt x="4386" y="1168"/>
                    </a:lnTo>
                    <a:lnTo>
                      <a:pt x="4451" y="1286"/>
                    </a:lnTo>
                    <a:lnTo>
                      <a:pt x="4508" y="1408"/>
                    </a:lnTo>
                    <a:lnTo>
                      <a:pt x="4560" y="1534"/>
                    </a:lnTo>
                    <a:lnTo>
                      <a:pt x="4604" y="1665"/>
                    </a:lnTo>
                    <a:lnTo>
                      <a:pt x="4640" y="1797"/>
                    </a:lnTo>
                    <a:lnTo>
                      <a:pt x="4669" y="1933"/>
                    </a:lnTo>
                    <a:lnTo>
                      <a:pt x="4690" y="2071"/>
                    </a:lnTo>
                    <a:lnTo>
                      <a:pt x="4703" y="2213"/>
                    </a:lnTo>
                    <a:lnTo>
                      <a:pt x="4707" y="2357"/>
                    </a:lnTo>
                    <a:lnTo>
                      <a:pt x="4703" y="2501"/>
                    </a:lnTo>
                    <a:lnTo>
                      <a:pt x="4690" y="2642"/>
                    </a:lnTo>
                    <a:lnTo>
                      <a:pt x="4669" y="2781"/>
                    </a:lnTo>
                    <a:lnTo>
                      <a:pt x="4640" y="2916"/>
                    </a:lnTo>
                    <a:lnTo>
                      <a:pt x="4604" y="3049"/>
                    </a:lnTo>
                    <a:lnTo>
                      <a:pt x="4560" y="3179"/>
                    </a:lnTo>
                    <a:lnTo>
                      <a:pt x="4508" y="3305"/>
                    </a:lnTo>
                    <a:lnTo>
                      <a:pt x="4451" y="3427"/>
                    </a:lnTo>
                    <a:lnTo>
                      <a:pt x="4386" y="3546"/>
                    </a:lnTo>
                    <a:lnTo>
                      <a:pt x="4314" y="3660"/>
                    </a:lnTo>
                    <a:lnTo>
                      <a:pt x="4237" y="3771"/>
                    </a:lnTo>
                    <a:lnTo>
                      <a:pt x="4154" y="3875"/>
                    </a:lnTo>
                    <a:lnTo>
                      <a:pt x="4065" y="3976"/>
                    </a:lnTo>
                    <a:lnTo>
                      <a:pt x="3970" y="4071"/>
                    </a:lnTo>
                    <a:lnTo>
                      <a:pt x="3870" y="4160"/>
                    </a:lnTo>
                    <a:lnTo>
                      <a:pt x="3765" y="4243"/>
                    </a:lnTo>
                    <a:lnTo>
                      <a:pt x="3655" y="4321"/>
                    </a:lnTo>
                    <a:lnTo>
                      <a:pt x="3541" y="4392"/>
                    </a:lnTo>
                    <a:lnTo>
                      <a:pt x="3422" y="4457"/>
                    </a:lnTo>
                    <a:lnTo>
                      <a:pt x="3300" y="4515"/>
                    </a:lnTo>
                    <a:lnTo>
                      <a:pt x="3174" y="4566"/>
                    </a:lnTo>
                    <a:lnTo>
                      <a:pt x="3045" y="4611"/>
                    </a:lnTo>
                    <a:lnTo>
                      <a:pt x="2912" y="4647"/>
                    </a:lnTo>
                    <a:lnTo>
                      <a:pt x="2777" y="4675"/>
                    </a:lnTo>
                    <a:lnTo>
                      <a:pt x="2638" y="4697"/>
                    </a:lnTo>
                    <a:lnTo>
                      <a:pt x="2497" y="4710"/>
                    </a:lnTo>
                    <a:lnTo>
                      <a:pt x="2354" y="4714"/>
                    </a:lnTo>
                    <a:lnTo>
                      <a:pt x="2210" y="4710"/>
                    </a:lnTo>
                    <a:lnTo>
                      <a:pt x="2068" y="4697"/>
                    </a:lnTo>
                    <a:lnTo>
                      <a:pt x="1931" y="4675"/>
                    </a:lnTo>
                    <a:lnTo>
                      <a:pt x="1794" y="4647"/>
                    </a:lnTo>
                    <a:lnTo>
                      <a:pt x="1661" y="4611"/>
                    </a:lnTo>
                    <a:lnTo>
                      <a:pt x="1532" y="4566"/>
                    </a:lnTo>
                    <a:lnTo>
                      <a:pt x="1406" y="4515"/>
                    </a:lnTo>
                    <a:lnTo>
                      <a:pt x="1284" y="4457"/>
                    </a:lnTo>
                    <a:lnTo>
                      <a:pt x="1165" y="4392"/>
                    </a:lnTo>
                    <a:lnTo>
                      <a:pt x="1051" y="4321"/>
                    </a:lnTo>
                    <a:lnTo>
                      <a:pt x="942" y="4243"/>
                    </a:lnTo>
                    <a:lnTo>
                      <a:pt x="836" y="4160"/>
                    </a:lnTo>
                    <a:lnTo>
                      <a:pt x="737" y="4071"/>
                    </a:lnTo>
                    <a:lnTo>
                      <a:pt x="643" y="3976"/>
                    </a:lnTo>
                    <a:lnTo>
                      <a:pt x="554" y="3875"/>
                    </a:lnTo>
                    <a:lnTo>
                      <a:pt x="469" y="3771"/>
                    </a:lnTo>
                    <a:lnTo>
                      <a:pt x="392" y="3660"/>
                    </a:lnTo>
                    <a:lnTo>
                      <a:pt x="321" y="3546"/>
                    </a:lnTo>
                    <a:lnTo>
                      <a:pt x="255" y="3427"/>
                    </a:lnTo>
                    <a:lnTo>
                      <a:pt x="198" y="3305"/>
                    </a:lnTo>
                    <a:lnTo>
                      <a:pt x="146" y="3179"/>
                    </a:lnTo>
                    <a:lnTo>
                      <a:pt x="103" y="3049"/>
                    </a:lnTo>
                    <a:lnTo>
                      <a:pt x="66" y="2916"/>
                    </a:lnTo>
                    <a:lnTo>
                      <a:pt x="37" y="2781"/>
                    </a:lnTo>
                    <a:lnTo>
                      <a:pt x="16" y="2642"/>
                    </a:lnTo>
                    <a:lnTo>
                      <a:pt x="4" y="2501"/>
                    </a:lnTo>
                    <a:lnTo>
                      <a:pt x="0" y="2357"/>
                    </a:lnTo>
                    <a:lnTo>
                      <a:pt x="4" y="2213"/>
                    </a:lnTo>
                    <a:lnTo>
                      <a:pt x="16" y="2071"/>
                    </a:lnTo>
                    <a:lnTo>
                      <a:pt x="37" y="1933"/>
                    </a:lnTo>
                    <a:lnTo>
                      <a:pt x="66" y="1797"/>
                    </a:lnTo>
                    <a:lnTo>
                      <a:pt x="103" y="1665"/>
                    </a:lnTo>
                    <a:lnTo>
                      <a:pt x="146" y="1534"/>
                    </a:lnTo>
                    <a:lnTo>
                      <a:pt x="198" y="1408"/>
                    </a:lnTo>
                    <a:lnTo>
                      <a:pt x="255" y="1286"/>
                    </a:lnTo>
                    <a:lnTo>
                      <a:pt x="321" y="1168"/>
                    </a:lnTo>
                    <a:lnTo>
                      <a:pt x="392" y="1053"/>
                    </a:lnTo>
                    <a:lnTo>
                      <a:pt x="469" y="944"/>
                    </a:lnTo>
                    <a:lnTo>
                      <a:pt x="554" y="839"/>
                    </a:lnTo>
                    <a:lnTo>
                      <a:pt x="643" y="738"/>
                    </a:lnTo>
                    <a:lnTo>
                      <a:pt x="737" y="644"/>
                    </a:lnTo>
                    <a:lnTo>
                      <a:pt x="836" y="554"/>
                    </a:lnTo>
                    <a:lnTo>
                      <a:pt x="942" y="471"/>
                    </a:lnTo>
                    <a:lnTo>
                      <a:pt x="1051" y="392"/>
                    </a:lnTo>
                    <a:lnTo>
                      <a:pt x="1165" y="322"/>
                    </a:lnTo>
                    <a:lnTo>
                      <a:pt x="1284" y="257"/>
                    </a:lnTo>
                    <a:lnTo>
                      <a:pt x="1406" y="198"/>
                    </a:lnTo>
                    <a:lnTo>
                      <a:pt x="1532" y="147"/>
                    </a:lnTo>
                    <a:lnTo>
                      <a:pt x="1661" y="103"/>
                    </a:lnTo>
                    <a:lnTo>
                      <a:pt x="1794" y="66"/>
                    </a:lnTo>
                    <a:lnTo>
                      <a:pt x="1931" y="37"/>
                    </a:lnTo>
                    <a:lnTo>
                      <a:pt x="2068" y="17"/>
                    </a:lnTo>
                    <a:lnTo>
                      <a:pt x="2210" y="4"/>
                    </a:lnTo>
                    <a:lnTo>
                      <a:pt x="2354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12">
                <a:extLst>
                  <a:ext uri="{FF2B5EF4-FFF2-40B4-BE49-F238E27FC236}">
                    <a16:creationId xmlns:a16="http://schemas.microsoft.com/office/drawing/2014/main" id="{F37D1FC6-2B4B-4670-9E30-93F3812ED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01620" y="4492626"/>
                <a:ext cx="192088" cy="190500"/>
              </a:xfrm>
              <a:custGeom>
                <a:avLst/>
                <a:gdLst>
                  <a:gd name="T0" fmla="*/ 137 w 241"/>
                  <a:gd name="T1" fmla="*/ 0 h 240"/>
                  <a:gd name="T2" fmla="*/ 163 w 241"/>
                  <a:gd name="T3" fmla="*/ 3 h 240"/>
                  <a:gd name="T4" fmla="*/ 188 w 241"/>
                  <a:gd name="T5" fmla="*/ 13 h 240"/>
                  <a:gd name="T6" fmla="*/ 209 w 241"/>
                  <a:gd name="T7" fmla="*/ 30 h 240"/>
                  <a:gd name="T8" fmla="*/ 226 w 241"/>
                  <a:gd name="T9" fmla="*/ 51 h 240"/>
                  <a:gd name="T10" fmla="*/ 236 w 241"/>
                  <a:gd name="T11" fmla="*/ 76 h 240"/>
                  <a:gd name="T12" fmla="*/ 241 w 241"/>
                  <a:gd name="T13" fmla="*/ 102 h 240"/>
                  <a:gd name="T14" fmla="*/ 236 w 241"/>
                  <a:gd name="T15" fmla="*/ 128 h 240"/>
                  <a:gd name="T16" fmla="*/ 226 w 241"/>
                  <a:gd name="T17" fmla="*/ 152 h 240"/>
                  <a:gd name="T18" fmla="*/ 209 w 241"/>
                  <a:gd name="T19" fmla="*/ 174 h 240"/>
                  <a:gd name="T20" fmla="*/ 173 w 241"/>
                  <a:gd name="T21" fmla="*/ 209 h 240"/>
                  <a:gd name="T22" fmla="*/ 152 w 241"/>
                  <a:gd name="T23" fmla="*/ 227 h 240"/>
                  <a:gd name="T24" fmla="*/ 127 w 241"/>
                  <a:gd name="T25" fmla="*/ 237 h 240"/>
                  <a:gd name="T26" fmla="*/ 101 w 241"/>
                  <a:gd name="T27" fmla="*/ 240 h 240"/>
                  <a:gd name="T28" fmla="*/ 77 w 241"/>
                  <a:gd name="T29" fmla="*/ 237 h 240"/>
                  <a:gd name="T30" fmla="*/ 53 w 241"/>
                  <a:gd name="T31" fmla="*/ 227 h 240"/>
                  <a:gd name="T32" fmla="*/ 31 w 241"/>
                  <a:gd name="T33" fmla="*/ 209 h 240"/>
                  <a:gd name="T34" fmla="*/ 14 w 241"/>
                  <a:gd name="T35" fmla="*/ 188 h 240"/>
                  <a:gd name="T36" fmla="*/ 3 w 241"/>
                  <a:gd name="T37" fmla="*/ 164 h 240"/>
                  <a:gd name="T38" fmla="*/ 0 w 241"/>
                  <a:gd name="T39" fmla="*/ 138 h 240"/>
                  <a:gd name="T40" fmla="*/ 3 w 241"/>
                  <a:gd name="T41" fmla="*/ 112 h 240"/>
                  <a:gd name="T42" fmla="*/ 14 w 241"/>
                  <a:gd name="T43" fmla="*/ 87 h 240"/>
                  <a:gd name="T44" fmla="*/ 31 w 241"/>
                  <a:gd name="T45" fmla="*/ 66 h 240"/>
                  <a:gd name="T46" fmla="*/ 66 w 241"/>
                  <a:gd name="T47" fmla="*/ 30 h 240"/>
                  <a:gd name="T48" fmla="*/ 89 w 241"/>
                  <a:gd name="T49" fmla="*/ 13 h 240"/>
                  <a:gd name="T50" fmla="*/ 113 w 241"/>
                  <a:gd name="T51" fmla="*/ 3 h 240"/>
                  <a:gd name="T52" fmla="*/ 137 w 241"/>
                  <a:gd name="T53" fmla="*/ 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41" h="240">
                    <a:moveTo>
                      <a:pt x="137" y="0"/>
                    </a:moveTo>
                    <a:lnTo>
                      <a:pt x="163" y="3"/>
                    </a:lnTo>
                    <a:lnTo>
                      <a:pt x="188" y="13"/>
                    </a:lnTo>
                    <a:lnTo>
                      <a:pt x="209" y="30"/>
                    </a:lnTo>
                    <a:lnTo>
                      <a:pt x="226" y="51"/>
                    </a:lnTo>
                    <a:lnTo>
                      <a:pt x="236" y="76"/>
                    </a:lnTo>
                    <a:lnTo>
                      <a:pt x="241" y="102"/>
                    </a:lnTo>
                    <a:lnTo>
                      <a:pt x="236" y="128"/>
                    </a:lnTo>
                    <a:lnTo>
                      <a:pt x="226" y="152"/>
                    </a:lnTo>
                    <a:lnTo>
                      <a:pt x="209" y="174"/>
                    </a:lnTo>
                    <a:lnTo>
                      <a:pt x="173" y="209"/>
                    </a:lnTo>
                    <a:lnTo>
                      <a:pt x="152" y="227"/>
                    </a:lnTo>
                    <a:lnTo>
                      <a:pt x="127" y="237"/>
                    </a:lnTo>
                    <a:lnTo>
                      <a:pt x="101" y="240"/>
                    </a:lnTo>
                    <a:lnTo>
                      <a:pt x="77" y="237"/>
                    </a:lnTo>
                    <a:lnTo>
                      <a:pt x="53" y="227"/>
                    </a:lnTo>
                    <a:lnTo>
                      <a:pt x="31" y="209"/>
                    </a:lnTo>
                    <a:lnTo>
                      <a:pt x="14" y="188"/>
                    </a:lnTo>
                    <a:lnTo>
                      <a:pt x="3" y="164"/>
                    </a:lnTo>
                    <a:lnTo>
                      <a:pt x="0" y="138"/>
                    </a:lnTo>
                    <a:lnTo>
                      <a:pt x="3" y="112"/>
                    </a:lnTo>
                    <a:lnTo>
                      <a:pt x="14" y="87"/>
                    </a:lnTo>
                    <a:lnTo>
                      <a:pt x="31" y="66"/>
                    </a:lnTo>
                    <a:lnTo>
                      <a:pt x="66" y="30"/>
                    </a:lnTo>
                    <a:lnTo>
                      <a:pt x="89" y="13"/>
                    </a:lnTo>
                    <a:lnTo>
                      <a:pt x="113" y="3"/>
                    </a:lnTo>
                    <a:lnTo>
                      <a:pt x="137" y="0"/>
                    </a:lnTo>
                    <a:close/>
                  </a:path>
                </a:pathLst>
              </a:custGeom>
              <a:grpFill/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7">
            <a:biLevel thresh="75000"/>
          </a:blip>
          <a:stretch>
            <a:fillRect/>
          </a:stretch>
        </p:blipFill>
        <p:spPr>
          <a:xfrm>
            <a:off x="51574" y="6569704"/>
            <a:ext cx="1291565" cy="243835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28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962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5">
            <a:grayscl/>
          </a:blip>
          <a:srcRect t="10776" r="12750" b="15516"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7B38C74D-EF4B-48FE-86A0-EB5425AB09E7}"/>
              </a:ext>
            </a:extLst>
          </p:cNvPr>
          <p:cNvSpPr/>
          <p:nvPr/>
        </p:nvSpPr>
        <p:spPr>
          <a:xfrm>
            <a:off x="0" y="0"/>
            <a:ext cx="12293702" cy="6892388"/>
          </a:xfrm>
          <a:prstGeom prst="rect">
            <a:avLst/>
          </a:prstGeom>
          <a:solidFill>
            <a:schemeClr val="tx1">
              <a:lumMod val="50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04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3A270A67-6AF1-4EDB-8CA7-0EB8A9421B40}"/>
              </a:ext>
            </a:extLst>
          </p:cNvPr>
          <p:cNvSpPr txBox="1"/>
          <p:nvPr/>
        </p:nvSpPr>
        <p:spPr>
          <a:xfrm>
            <a:off x="293379" y="557831"/>
            <a:ext cx="9353188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IN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mplicity Pays</a:t>
            </a: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1A50E7CF-82C9-4410-BB2D-C4067D1EFE62}"/>
              </a:ext>
            </a:extLst>
          </p:cNvPr>
          <p:cNvSpPr>
            <a:spLocks/>
          </p:cNvSpPr>
          <p:nvPr/>
        </p:nvSpPr>
        <p:spPr>
          <a:xfrm>
            <a:off x="-562826" y="301819"/>
            <a:ext cx="10926025" cy="1004467"/>
          </a:xfrm>
          <a:prstGeom prst="parallelogram">
            <a:avLst>
              <a:gd name="adj" fmla="val 42902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A119D4-E667-457F-8A1F-F9D5CF5F46AB}"/>
              </a:ext>
            </a:extLst>
          </p:cNvPr>
          <p:cNvSpPr txBox="1"/>
          <p:nvPr/>
        </p:nvSpPr>
        <p:spPr>
          <a:xfrm>
            <a:off x="698413" y="1813302"/>
            <a:ext cx="3101524" cy="32008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0" b="1" dirty="0">
                <a:solidFill>
                  <a:schemeClr val="bg1"/>
                </a:solidFill>
                <a:cs typeface="Arial" panose="020B0604020202020204" pitchFamily="34" charset="0"/>
              </a:rPr>
              <a:t>64%</a:t>
            </a:r>
            <a:r>
              <a:rPr lang="en-US" sz="4400" dirty="0">
                <a:solidFill>
                  <a:schemeClr val="bg1"/>
                </a:solidFill>
                <a:cs typeface="Arial" panose="020B0604020202020204" pitchFamily="34" charset="0"/>
              </a:rPr>
              <a:t/>
            </a:r>
            <a:br>
              <a:rPr lang="en-US" sz="4400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sz="3200" dirty="0">
                <a:solidFill>
                  <a:schemeClr val="bg1"/>
                </a:solidFill>
                <a:cs typeface="Arial" panose="020B0604020202020204" pitchFamily="34" charset="0"/>
              </a:rPr>
              <a:t>of consumers are willing to pay more for simpler experiences</a:t>
            </a:r>
            <a:endParaRPr lang="en-US" sz="44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55992C-A419-4B31-BBC9-B0368CE366F8}"/>
              </a:ext>
            </a:extLst>
          </p:cNvPr>
          <p:cNvSpPr txBox="1"/>
          <p:nvPr/>
        </p:nvSpPr>
        <p:spPr>
          <a:xfrm>
            <a:off x="4405882" y="1528572"/>
            <a:ext cx="223451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cs typeface="Arial" panose="020B0604020202020204" pitchFamily="34" charset="0"/>
              </a:rPr>
              <a:t>These disrupters :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25C726D-67C4-487E-936F-A74A5889409F}"/>
              </a:ext>
            </a:extLst>
          </p:cNvPr>
          <p:cNvCxnSpPr>
            <a:cxnSpLocks/>
          </p:cNvCxnSpPr>
          <p:nvPr/>
        </p:nvCxnSpPr>
        <p:spPr>
          <a:xfrm>
            <a:off x="4097301" y="1528572"/>
            <a:ext cx="0" cy="4833274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7D033632-FE4D-4B7E-94D6-DAD44318B5B5}"/>
              </a:ext>
            </a:extLst>
          </p:cNvPr>
          <p:cNvSpPr txBox="1"/>
          <p:nvPr/>
        </p:nvSpPr>
        <p:spPr>
          <a:xfrm>
            <a:off x="4394664" y="1579840"/>
            <a:ext cx="2053447" cy="123110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0" b="1" dirty="0">
                <a:solidFill>
                  <a:schemeClr val="bg1"/>
                </a:solidFill>
                <a:cs typeface="Arial" panose="020B0604020202020204" pitchFamily="34" charset="0"/>
              </a:rPr>
              <a:t>61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DDE472E-3E92-470B-B865-836C272BC6CB}"/>
              </a:ext>
            </a:extLst>
          </p:cNvPr>
          <p:cNvSpPr txBox="1"/>
          <p:nvPr/>
        </p:nvSpPr>
        <p:spPr>
          <a:xfrm>
            <a:off x="7004955" y="1761881"/>
            <a:ext cx="206611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of people are more </a:t>
            </a:r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likely to recommend</a:t>
            </a: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 a brand because it provides simpler experiences </a:t>
            </a:r>
            <a:b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and communications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9AEFE30A-A05F-491B-BB74-7B12482CDC63}"/>
              </a:ext>
            </a:extLst>
          </p:cNvPr>
          <p:cNvGrpSpPr/>
          <p:nvPr/>
        </p:nvGrpSpPr>
        <p:grpSpPr>
          <a:xfrm>
            <a:off x="4394664" y="4921055"/>
            <a:ext cx="4238340" cy="1440791"/>
            <a:chOff x="4394664" y="5022655"/>
            <a:chExt cx="4238340" cy="1440791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1CF7F2C-FE27-4663-8D05-2D96AC959A51}"/>
                </a:ext>
              </a:extLst>
            </p:cNvPr>
            <p:cNvSpPr txBox="1"/>
            <p:nvPr/>
          </p:nvSpPr>
          <p:spPr>
            <a:xfrm>
              <a:off x="4394664" y="5022655"/>
              <a:ext cx="4238340" cy="101566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6600" b="1" dirty="0">
                  <a:solidFill>
                    <a:schemeClr val="bg1"/>
                  </a:solidFill>
                  <a:cs typeface="Arial" panose="020B0604020202020204" pitchFamily="34" charset="0"/>
                </a:rPr>
                <a:t>$86 Billion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F28EA6E0-4DD5-4DCF-AE4C-704F820C181A}"/>
                </a:ext>
              </a:extLst>
            </p:cNvPr>
            <p:cNvSpPr txBox="1"/>
            <p:nvPr/>
          </p:nvSpPr>
          <p:spPr>
            <a:xfrm>
              <a:off x="4394664" y="6032559"/>
              <a:ext cx="40116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cs typeface="Arial" panose="020B0604020202020204" pitchFamily="34" charset="0"/>
                </a:rPr>
                <a:t>the amount of money brands are leaving  on the table when they don’t simplif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C415B2A-4E21-4363-82A1-B8D8910CDA1D}"/>
              </a:ext>
            </a:extLst>
          </p:cNvPr>
          <p:cNvGrpSpPr/>
          <p:nvPr/>
        </p:nvGrpSpPr>
        <p:grpSpPr>
          <a:xfrm>
            <a:off x="4394664" y="2937848"/>
            <a:ext cx="1848092" cy="1916778"/>
            <a:chOff x="4394664" y="2666508"/>
            <a:chExt cx="1848092" cy="1916778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5ACF299-86D7-4BFB-A5EB-23CA8F7DEF1D}"/>
                </a:ext>
              </a:extLst>
            </p:cNvPr>
            <p:cNvSpPr txBox="1"/>
            <p:nvPr/>
          </p:nvSpPr>
          <p:spPr>
            <a:xfrm>
              <a:off x="4394664" y="2666508"/>
              <a:ext cx="1384995" cy="8309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5400" b="1" dirty="0">
                  <a:solidFill>
                    <a:schemeClr val="bg1"/>
                  </a:solidFill>
                  <a:cs typeface="Arial" panose="020B0604020202020204" pitchFamily="34" charset="0"/>
                </a:rPr>
                <a:t>62%</a:t>
              </a:r>
              <a:endParaRPr lang="en-US" sz="24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C481A0F-D801-4A81-A83B-B986DA6F6E98}"/>
                </a:ext>
              </a:extLst>
            </p:cNvPr>
            <p:cNvSpPr txBox="1"/>
            <p:nvPr/>
          </p:nvSpPr>
          <p:spPr>
            <a:xfrm>
              <a:off x="4394664" y="3506068"/>
              <a:ext cx="1848092" cy="1077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cs typeface="Arial" panose="020B0604020202020204" pitchFamily="34" charset="0"/>
                </a:rPr>
                <a:t>of employees are considered brand champions in companies perceived to be </a:t>
              </a:r>
              <a:r>
                <a:rPr lang="en-US" sz="1400" b="1" dirty="0">
                  <a:solidFill>
                    <a:schemeClr val="bg1"/>
                  </a:solidFill>
                  <a:cs typeface="Arial" panose="020B0604020202020204" pitchFamily="34" charset="0"/>
                </a:rPr>
                <a:t>simple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7FCC662E-D98A-4747-AB41-0B291F9DCA35}"/>
              </a:ext>
            </a:extLst>
          </p:cNvPr>
          <p:cNvGrpSpPr/>
          <p:nvPr/>
        </p:nvGrpSpPr>
        <p:grpSpPr>
          <a:xfrm>
            <a:off x="7004954" y="2937848"/>
            <a:ext cx="1766021" cy="1916778"/>
            <a:chOff x="7004954" y="2924776"/>
            <a:chExt cx="1766021" cy="1916778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1805F516-C3AE-49E7-9B03-70080323F016}"/>
                </a:ext>
              </a:extLst>
            </p:cNvPr>
            <p:cNvSpPr txBox="1"/>
            <p:nvPr/>
          </p:nvSpPr>
          <p:spPr>
            <a:xfrm>
              <a:off x="7004954" y="2924776"/>
              <a:ext cx="1384995" cy="83099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5400" b="1" dirty="0">
                  <a:solidFill>
                    <a:schemeClr val="bg1"/>
                  </a:solidFill>
                  <a:cs typeface="Arial" panose="020B0604020202020204" pitchFamily="34" charset="0"/>
                </a:rPr>
                <a:t>20%</a:t>
              </a:r>
              <a:endParaRPr lang="en-US" sz="24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9A74283-40D7-49FD-91E8-F568684084BD}"/>
                </a:ext>
              </a:extLst>
            </p:cNvPr>
            <p:cNvSpPr txBox="1"/>
            <p:nvPr/>
          </p:nvSpPr>
          <p:spPr>
            <a:xfrm>
              <a:off x="7004955" y="3764336"/>
              <a:ext cx="1766020" cy="107721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>
                  <a:solidFill>
                    <a:schemeClr val="bg1"/>
                  </a:solidFill>
                  <a:cs typeface="Arial" panose="020B0604020202020204" pitchFamily="34" charset="0"/>
                </a:rPr>
                <a:t>of employees are considered brand champions in companies perceived to be </a:t>
              </a:r>
              <a:r>
                <a:rPr lang="en-US" sz="1400" b="1" dirty="0">
                  <a:solidFill>
                    <a:schemeClr val="bg1"/>
                  </a:solidFill>
                  <a:cs typeface="Arial" panose="020B0604020202020204" pitchFamily="34" charset="0"/>
                </a:rPr>
                <a:t>complex</a:t>
              </a: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C13F4DD-059D-413C-82E9-AC4BD7C33F02}"/>
              </a:ext>
            </a:extLst>
          </p:cNvPr>
          <p:cNvCxnSpPr/>
          <p:nvPr/>
        </p:nvCxnSpPr>
        <p:spPr>
          <a:xfrm>
            <a:off x="5992754" y="3353015"/>
            <a:ext cx="250002" cy="0"/>
          </a:xfrm>
          <a:prstGeom prst="line">
            <a:avLst/>
          </a:prstGeom>
          <a:ln>
            <a:solidFill>
              <a:schemeClr val="bg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21A84C64-41F3-479C-BE20-0BBE53A13C3B}"/>
              </a:ext>
            </a:extLst>
          </p:cNvPr>
          <p:cNvSpPr txBox="1"/>
          <p:nvPr/>
        </p:nvSpPr>
        <p:spPr>
          <a:xfrm>
            <a:off x="6261384" y="3235162"/>
            <a:ext cx="28295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vs.</a:t>
            </a:r>
            <a:endParaRPr lang="en-US" sz="14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DA19D90-D499-4758-9344-A486CBB99546}"/>
              </a:ext>
            </a:extLst>
          </p:cNvPr>
          <p:cNvSpPr txBox="1"/>
          <p:nvPr/>
        </p:nvSpPr>
        <p:spPr>
          <a:xfrm>
            <a:off x="293379" y="6598600"/>
            <a:ext cx="79298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3000"/>
              </a:spcBef>
            </a:pPr>
            <a:r>
              <a:rPr lang="en-US" sz="1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lobal Brand Simplicity Index 2017</a:t>
            </a:r>
            <a:endParaRPr lang="en-US" sz="1000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C13F4DD-059D-413C-82E9-AC4BD7C33F02}"/>
              </a:ext>
            </a:extLst>
          </p:cNvPr>
          <p:cNvCxnSpPr/>
          <p:nvPr/>
        </p:nvCxnSpPr>
        <p:spPr>
          <a:xfrm>
            <a:off x="6515393" y="3353015"/>
            <a:ext cx="250002" cy="0"/>
          </a:xfrm>
          <a:prstGeom prst="line">
            <a:avLst/>
          </a:prstGeom>
          <a:ln>
            <a:solidFill>
              <a:schemeClr val="bg1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/>
          <p:cNvPicPr>
            <a:picLocks noChangeAspect="1"/>
          </p:cNvPicPr>
          <p:nvPr/>
        </p:nvPicPr>
        <p:blipFill>
          <a:blip r:embed="rId8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434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>
            <a:grayscl/>
          </a:blip>
          <a:srcRect t="10776" r="12750" b="15516"/>
          <a:stretch/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7B38C74D-EF4B-48FE-86A0-EB5425AB09E7}"/>
              </a:ext>
            </a:extLst>
          </p:cNvPr>
          <p:cNvSpPr/>
          <p:nvPr/>
        </p:nvSpPr>
        <p:spPr>
          <a:xfrm>
            <a:off x="0" y="0"/>
            <a:ext cx="12293702" cy="6892388"/>
          </a:xfrm>
          <a:prstGeom prst="rect">
            <a:avLst/>
          </a:prstGeom>
          <a:solidFill>
            <a:schemeClr val="tx1">
              <a:lumMod val="50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79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3A270A67-6AF1-4EDB-8CA7-0EB8A9421B40}"/>
              </a:ext>
            </a:extLst>
          </p:cNvPr>
          <p:cNvSpPr txBox="1"/>
          <p:nvPr/>
        </p:nvSpPr>
        <p:spPr>
          <a:xfrm>
            <a:off x="293379" y="557831"/>
            <a:ext cx="9353188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IN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om Selling Products to Delivering Solutions</a:t>
            </a:r>
            <a:br>
              <a:rPr lang="en-IN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N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Services</a:t>
            </a:r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1A50E7CF-82C9-4410-BB2D-C4067D1EFE62}"/>
              </a:ext>
            </a:extLst>
          </p:cNvPr>
          <p:cNvSpPr>
            <a:spLocks/>
          </p:cNvSpPr>
          <p:nvPr/>
        </p:nvSpPr>
        <p:spPr>
          <a:xfrm>
            <a:off x="-562826" y="301819"/>
            <a:ext cx="10926025" cy="1004467"/>
          </a:xfrm>
          <a:prstGeom prst="parallelogram">
            <a:avLst>
              <a:gd name="adj" fmla="val 42902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A119D4-E667-457F-8A1F-F9D5CF5F46AB}"/>
              </a:ext>
            </a:extLst>
          </p:cNvPr>
          <p:cNvSpPr txBox="1"/>
          <p:nvPr/>
        </p:nvSpPr>
        <p:spPr>
          <a:xfrm>
            <a:off x="293379" y="1739807"/>
            <a:ext cx="2351410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What does it take to deliver truly simple experiences ? </a:t>
            </a:r>
            <a:b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cs typeface="Arial" panose="020B0604020202020204" pitchFamily="34" charset="0"/>
              </a:rPr>
              <a:t>emerging brands that are changing the stakes share what it takes to deliver simple, meaningful customer experienc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EEF218-405D-431A-B293-9421361BE90C}"/>
              </a:ext>
            </a:extLst>
          </p:cNvPr>
          <p:cNvSpPr txBox="1"/>
          <p:nvPr/>
        </p:nvSpPr>
        <p:spPr>
          <a:xfrm>
            <a:off x="293379" y="3752765"/>
            <a:ext cx="3762403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800" b="1" dirty="0">
                <a:solidFill>
                  <a:schemeClr val="bg1"/>
                </a:solidFill>
                <a:cs typeface="Arial" panose="020B0604020202020204" pitchFamily="34" charset="0"/>
              </a:rPr>
              <a:t>Global disrupte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55992C-A419-4B31-BBC9-B0368CE366F8}"/>
              </a:ext>
            </a:extLst>
          </p:cNvPr>
          <p:cNvSpPr txBox="1"/>
          <p:nvPr/>
        </p:nvSpPr>
        <p:spPr>
          <a:xfrm>
            <a:off x="3646446" y="1704311"/>
            <a:ext cx="223451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</a:rPr>
              <a:t>These disrupters :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6999B3-88D2-4CA8-A13B-F31954002E8D}"/>
              </a:ext>
            </a:extLst>
          </p:cNvPr>
          <p:cNvGrpSpPr/>
          <p:nvPr/>
        </p:nvGrpSpPr>
        <p:grpSpPr>
          <a:xfrm>
            <a:off x="3646446" y="1933101"/>
            <a:ext cx="4346232" cy="772113"/>
            <a:chOff x="4405882" y="1850770"/>
            <a:chExt cx="4346232" cy="772113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38C588A-20F8-48A3-8833-23C1459AECEE}"/>
                </a:ext>
              </a:extLst>
            </p:cNvPr>
            <p:cNvSpPr txBox="1"/>
            <p:nvPr/>
          </p:nvSpPr>
          <p:spPr>
            <a:xfrm>
              <a:off x="4405882" y="1850770"/>
              <a:ext cx="343043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1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1FC5685-99A9-4335-ACDB-467F2919CC19}"/>
                </a:ext>
              </a:extLst>
            </p:cNvPr>
            <p:cNvGrpSpPr/>
            <p:nvPr/>
          </p:nvGrpSpPr>
          <p:grpSpPr>
            <a:xfrm>
              <a:off x="4951838" y="1921074"/>
              <a:ext cx="3800276" cy="701809"/>
              <a:chOff x="4951838" y="1921074"/>
              <a:chExt cx="3800276" cy="701809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5D4CBEC-5EBE-4921-B299-24F7044A3E46}"/>
                  </a:ext>
                </a:extLst>
              </p:cNvPr>
              <p:cNvSpPr txBox="1"/>
              <p:nvPr/>
            </p:nvSpPr>
            <p:spPr>
              <a:xfrm>
                <a:off x="4951838" y="1921074"/>
                <a:ext cx="344461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Empower people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1013BB5-A1EF-414C-978D-4E2100B31C07}"/>
                  </a:ext>
                </a:extLst>
              </p:cNvPr>
              <p:cNvSpPr txBox="1"/>
              <p:nvPr/>
            </p:nvSpPr>
            <p:spPr>
              <a:xfrm>
                <a:off x="4951838" y="2191996"/>
                <a:ext cx="3800276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Sidestep traditional industry protocols and shift power to consumers</a:t>
                </a:r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5CEFC07-FC5F-4C2D-8328-8666F556EEB7}"/>
              </a:ext>
            </a:extLst>
          </p:cNvPr>
          <p:cNvGrpSpPr/>
          <p:nvPr/>
        </p:nvGrpSpPr>
        <p:grpSpPr>
          <a:xfrm>
            <a:off x="3646446" y="2910844"/>
            <a:ext cx="4346232" cy="772113"/>
            <a:chOff x="4405882" y="2837540"/>
            <a:chExt cx="4346232" cy="772113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8F7AA0E-345E-444B-8206-50B6DE3F8575}"/>
                </a:ext>
              </a:extLst>
            </p:cNvPr>
            <p:cNvSpPr txBox="1"/>
            <p:nvPr/>
          </p:nvSpPr>
          <p:spPr>
            <a:xfrm>
              <a:off x="4405882" y="2837540"/>
              <a:ext cx="343043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2</a:t>
              </a: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1B48B27-C8B5-4EC8-9EF9-61D8694B800E}"/>
                </a:ext>
              </a:extLst>
            </p:cNvPr>
            <p:cNvGrpSpPr/>
            <p:nvPr/>
          </p:nvGrpSpPr>
          <p:grpSpPr>
            <a:xfrm>
              <a:off x="4951838" y="2907844"/>
              <a:ext cx="3800276" cy="701809"/>
              <a:chOff x="4951838" y="2907844"/>
              <a:chExt cx="3800276" cy="701809"/>
            </a:xfrm>
          </p:grpSpPr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00B5E36F-2C4A-4AA8-B8ED-474AF52A2EA6}"/>
                  </a:ext>
                </a:extLst>
              </p:cNvPr>
              <p:cNvSpPr txBox="1"/>
              <p:nvPr/>
            </p:nvSpPr>
            <p:spPr>
              <a:xfrm>
                <a:off x="4951838" y="2907844"/>
                <a:ext cx="344461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Reimagine experiences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9E07C0BB-02DC-4F91-9A7E-F9C1B6FE7A76}"/>
                  </a:ext>
                </a:extLst>
              </p:cNvPr>
              <p:cNvSpPr txBox="1"/>
              <p:nvPr/>
            </p:nvSpPr>
            <p:spPr>
              <a:xfrm>
                <a:off x="4951838" y="3178766"/>
                <a:ext cx="3800276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Turn underwhelming experiences into moments of delight</a:t>
                </a: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2BE8C86-13B5-43C0-A352-3E89B2811EEE}"/>
              </a:ext>
            </a:extLst>
          </p:cNvPr>
          <p:cNvGrpSpPr/>
          <p:nvPr/>
        </p:nvGrpSpPr>
        <p:grpSpPr>
          <a:xfrm>
            <a:off x="3646446" y="3888587"/>
            <a:ext cx="4346232" cy="772113"/>
            <a:chOff x="4405882" y="3824310"/>
            <a:chExt cx="4346232" cy="772113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FF14409-39CB-4184-B967-5B6A95D14799}"/>
                </a:ext>
              </a:extLst>
            </p:cNvPr>
            <p:cNvSpPr txBox="1"/>
            <p:nvPr/>
          </p:nvSpPr>
          <p:spPr>
            <a:xfrm>
              <a:off x="4405882" y="3824310"/>
              <a:ext cx="343043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3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49B4D256-9819-4A37-9950-40F2197810BB}"/>
                </a:ext>
              </a:extLst>
            </p:cNvPr>
            <p:cNvGrpSpPr/>
            <p:nvPr/>
          </p:nvGrpSpPr>
          <p:grpSpPr>
            <a:xfrm>
              <a:off x="4951838" y="3894614"/>
              <a:ext cx="3800276" cy="701809"/>
              <a:chOff x="4951838" y="3894614"/>
              <a:chExt cx="3800276" cy="701809"/>
            </a:xfrm>
          </p:grpSpPr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C0FEFC64-ED38-4343-AEF6-F2ABC9C7EBDA}"/>
                  </a:ext>
                </a:extLst>
              </p:cNvPr>
              <p:cNvSpPr txBox="1"/>
              <p:nvPr/>
            </p:nvSpPr>
            <p:spPr>
              <a:xfrm>
                <a:off x="4951838" y="3894614"/>
                <a:ext cx="344461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Remove friction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BA54251C-4087-4FAF-945F-4B688FF4480A}"/>
                  </a:ext>
                </a:extLst>
              </p:cNvPr>
              <p:cNvSpPr txBox="1"/>
              <p:nvPr/>
            </p:nvSpPr>
            <p:spPr>
              <a:xfrm>
                <a:off x="4951838" y="4165536"/>
                <a:ext cx="3800276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Identify pain points in everyday processes, and remove them</a:t>
                </a: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EE786CA-8436-48FC-8D29-FA3C4E48A6DE}"/>
              </a:ext>
            </a:extLst>
          </p:cNvPr>
          <p:cNvGrpSpPr/>
          <p:nvPr/>
        </p:nvGrpSpPr>
        <p:grpSpPr>
          <a:xfrm>
            <a:off x="3646446" y="4866330"/>
            <a:ext cx="4346232" cy="772113"/>
            <a:chOff x="4405882" y="4811080"/>
            <a:chExt cx="4346232" cy="77211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3069A08-2F3E-40FE-A239-CE1BB7C95579}"/>
                </a:ext>
              </a:extLst>
            </p:cNvPr>
            <p:cNvSpPr txBox="1"/>
            <p:nvPr/>
          </p:nvSpPr>
          <p:spPr>
            <a:xfrm>
              <a:off x="4405882" y="4811080"/>
              <a:ext cx="343043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4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89E19A2-6B81-4C60-B832-49C111A49215}"/>
                </a:ext>
              </a:extLst>
            </p:cNvPr>
            <p:cNvGrpSpPr/>
            <p:nvPr/>
          </p:nvGrpSpPr>
          <p:grpSpPr>
            <a:xfrm>
              <a:off x="4951838" y="4881384"/>
              <a:ext cx="3800276" cy="701809"/>
              <a:chOff x="4951838" y="4881384"/>
              <a:chExt cx="3800276" cy="701809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2B4F9E46-DB9E-48B8-9289-FBD8DCF36FBE}"/>
                  </a:ext>
                </a:extLst>
              </p:cNvPr>
              <p:cNvSpPr txBox="1"/>
              <p:nvPr/>
            </p:nvSpPr>
            <p:spPr>
              <a:xfrm>
                <a:off x="4951838" y="4881384"/>
                <a:ext cx="344461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Save time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80E94D07-0628-4294-86B1-10D43B8CE5C1}"/>
                  </a:ext>
                </a:extLst>
              </p:cNvPr>
              <p:cNvSpPr txBox="1"/>
              <p:nvPr/>
            </p:nvSpPr>
            <p:spPr>
              <a:xfrm>
                <a:off x="4951838" y="5152306"/>
                <a:ext cx="3800276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Value people’s time by providing service where and when they need it most</a:t>
                </a:r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203504D-407D-486B-ABF9-C0C2BF2A82F7}"/>
              </a:ext>
            </a:extLst>
          </p:cNvPr>
          <p:cNvGrpSpPr/>
          <p:nvPr/>
        </p:nvGrpSpPr>
        <p:grpSpPr>
          <a:xfrm>
            <a:off x="3646446" y="5844075"/>
            <a:ext cx="4346232" cy="772113"/>
            <a:chOff x="4405882" y="5797849"/>
            <a:chExt cx="4346232" cy="772113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BC1477C-FC63-44D9-8F9A-0F4FB097FA4C}"/>
                </a:ext>
              </a:extLst>
            </p:cNvPr>
            <p:cNvSpPr txBox="1"/>
            <p:nvPr/>
          </p:nvSpPr>
          <p:spPr>
            <a:xfrm>
              <a:off x="4405882" y="5797849"/>
              <a:ext cx="343043" cy="73866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4800" b="1" dirty="0">
                  <a:solidFill>
                    <a:schemeClr val="bg1"/>
                  </a:solidFill>
                  <a:cs typeface="Arial" panose="020B0604020202020204" pitchFamily="34" charset="0"/>
                </a:rPr>
                <a:t>5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0F5CD23-6E82-4CA6-BA95-009F9DFFED00}"/>
                </a:ext>
              </a:extLst>
            </p:cNvPr>
            <p:cNvGrpSpPr/>
            <p:nvPr/>
          </p:nvGrpSpPr>
          <p:grpSpPr>
            <a:xfrm>
              <a:off x="4951838" y="5868153"/>
              <a:ext cx="3800276" cy="701809"/>
              <a:chOff x="4951838" y="5868153"/>
              <a:chExt cx="3800276" cy="701809"/>
            </a:xfrm>
          </p:grpSpPr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C08423B4-0802-429B-83A6-9A93C83BE6FD}"/>
                  </a:ext>
                </a:extLst>
              </p:cNvPr>
              <p:cNvSpPr txBox="1"/>
              <p:nvPr/>
            </p:nvSpPr>
            <p:spPr>
              <a:xfrm>
                <a:off x="4951838" y="5868153"/>
                <a:ext cx="344461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Provide utility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F120DE97-8CA2-4B2C-B7AA-DE8088CEA7F8}"/>
                  </a:ext>
                </a:extLst>
              </p:cNvPr>
              <p:cNvSpPr txBox="1"/>
              <p:nvPr/>
            </p:nvSpPr>
            <p:spPr>
              <a:xfrm>
                <a:off x="4951838" y="6139075"/>
                <a:ext cx="3800276" cy="43088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400" dirty="0">
                    <a:solidFill>
                      <a:schemeClr val="bg1"/>
                    </a:solidFill>
                    <a:cs typeface="Arial" panose="020B0604020202020204" pitchFamily="34" charset="0"/>
                  </a:rPr>
                  <a:t>They demonstrate usefulness beyond their core offerings or services</a:t>
                </a:r>
              </a:p>
            </p:txBody>
          </p:sp>
        </p:grpSp>
      </p:grp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25C726D-67C4-487E-936F-A74A5889409F}"/>
              </a:ext>
            </a:extLst>
          </p:cNvPr>
          <p:cNvCxnSpPr>
            <a:cxnSpLocks/>
          </p:cNvCxnSpPr>
          <p:nvPr/>
        </p:nvCxnSpPr>
        <p:spPr>
          <a:xfrm>
            <a:off x="3646446" y="2808029"/>
            <a:ext cx="434623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9C75BDD-1D0C-4F70-9F64-6D9B592E72EF}"/>
              </a:ext>
            </a:extLst>
          </p:cNvPr>
          <p:cNvCxnSpPr>
            <a:cxnSpLocks/>
          </p:cNvCxnSpPr>
          <p:nvPr/>
        </p:nvCxnSpPr>
        <p:spPr>
          <a:xfrm>
            <a:off x="3646446" y="3785772"/>
            <a:ext cx="434623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D3C79FDF-31A1-4B82-8AC2-B92396DF0AE7}"/>
              </a:ext>
            </a:extLst>
          </p:cNvPr>
          <p:cNvCxnSpPr>
            <a:cxnSpLocks/>
          </p:cNvCxnSpPr>
          <p:nvPr/>
        </p:nvCxnSpPr>
        <p:spPr>
          <a:xfrm>
            <a:off x="3646446" y="4763515"/>
            <a:ext cx="434623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19569322-7687-40E9-927C-CAF9A6D9D3DD}"/>
              </a:ext>
            </a:extLst>
          </p:cNvPr>
          <p:cNvCxnSpPr>
            <a:cxnSpLocks/>
          </p:cNvCxnSpPr>
          <p:nvPr/>
        </p:nvCxnSpPr>
        <p:spPr>
          <a:xfrm>
            <a:off x="3646446" y="5741258"/>
            <a:ext cx="434623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/>
          </p:cNvPr>
          <p:cNvSpPr txBox="1"/>
          <p:nvPr/>
        </p:nvSpPr>
        <p:spPr>
          <a:xfrm>
            <a:off x="293379" y="6598600"/>
            <a:ext cx="79298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3000"/>
              </a:spcBef>
            </a:pPr>
            <a:r>
              <a:rPr lang="en-US" sz="1000" b="1" dirty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lobal Brand Simplicity Index 2017</a:t>
            </a:r>
            <a:endParaRPr lang="en-US" sz="1000" dirty="0">
              <a:solidFill>
                <a:schemeClr val="bg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8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596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9" descr="C:\Users\sunitha\Desktop\elementfleet-herolarge.jfif"/>
          <p:cNvPicPr>
            <a:picLocks noChangeAspect="1" noChangeArrowheads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" y="0"/>
            <a:ext cx="1218468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4143" y="0"/>
            <a:ext cx="12184682" cy="6858000"/>
          </a:xfrm>
          <a:prstGeom prst="rect">
            <a:avLst/>
          </a:prstGeom>
          <a:solidFill>
            <a:schemeClr val="tx1">
              <a:lumMod val="5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19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arallelogram 35">
            <a:extLst>
              <a:ext uri="{FF2B5EF4-FFF2-40B4-BE49-F238E27FC236}">
                <a16:creationId xmlns:a16="http://schemas.microsoft.com/office/drawing/2014/main" id="{C28F7EDB-73D4-4363-8566-4A9FE696A895}"/>
              </a:ext>
            </a:extLst>
          </p:cNvPr>
          <p:cNvSpPr>
            <a:spLocks/>
          </p:cNvSpPr>
          <p:nvPr/>
        </p:nvSpPr>
        <p:spPr>
          <a:xfrm>
            <a:off x="-1920143" y="1803475"/>
            <a:ext cx="12544383" cy="3804204"/>
          </a:xfrm>
          <a:prstGeom prst="parallelogram">
            <a:avLst>
              <a:gd name="adj" fmla="val 43454"/>
            </a:avLst>
          </a:prstGeom>
          <a:solidFill>
            <a:schemeClr val="bg1">
              <a:alpha val="2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6EAD1F1-5F70-41BC-887C-808EF2910F44}"/>
              </a:ext>
            </a:extLst>
          </p:cNvPr>
          <p:cNvSpPr/>
          <p:nvPr/>
        </p:nvSpPr>
        <p:spPr>
          <a:xfrm>
            <a:off x="802599" y="3243912"/>
            <a:ext cx="81275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Stat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180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5">
            <a:grayscl/>
          </a:blip>
          <a:srcRect t="7802" b="7802"/>
          <a:stretch/>
        </p:blipFill>
        <p:spPr>
          <a:xfrm>
            <a:off x="0" y="0"/>
            <a:ext cx="12188825" cy="6858000"/>
          </a:xfrm>
          <a:prstGeom prst="rect">
            <a:avLst/>
          </a:prstGeom>
          <a:solidFill>
            <a:schemeClr val="tx1">
              <a:lumMod val="50000"/>
            </a:schemeClr>
          </a:solidFill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71859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33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6" name="Rectangle 205">
            <a:extLst>
              <a:ext uri="{FF2B5EF4-FFF2-40B4-BE49-F238E27FC236}">
                <a16:creationId xmlns:a16="http://schemas.microsoft.com/office/drawing/2014/main" id="{A7598C47-FDF3-47B9-9EAD-56244C164D2B}"/>
              </a:ext>
            </a:extLst>
          </p:cNvPr>
          <p:cNvSpPr/>
          <p:nvPr/>
        </p:nvSpPr>
        <p:spPr>
          <a:xfrm>
            <a:off x="0" y="0"/>
            <a:ext cx="12188825" cy="6858000"/>
          </a:xfrm>
          <a:prstGeom prst="rect">
            <a:avLst/>
          </a:prstGeom>
          <a:solidFill>
            <a:schemeClr val="tx1">
              <a:lumMod val="50000"/>
              <a:alpha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A270A67-6AF1-4EDB-8CA7-0EB8A9421B40}"/>
              </a:ext>
            </a:extLst>
          </p:cNvPr>
          <p:cNvSpPr txBox="1"/>
          <p:nvPr/>
        </p:nvSpPr>
        <p:spPr>
          <a:xfrm>
            <a:off x="293379" y="557831"/>
            <a:ext cx="9353188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1A50E7CF-82C9-4410-BB2D-C4067D1EFE62}"/>
              </a:ext>
            </a:extLst>
          </p:cNvPr>
          <p:cNvSpPr>
            <a:spLocks/>
          </p:cNvSpPr>
          <p:nvPr/>
        </p:nvSpPr>
        <p:spPr>
          <a:xfrm>
            <a:off x="-562826" y="301819"/>
            <a:ext cx="10926025" cy="1004467"/>
          </a:xfrm>
          <a:prstGeom prst="parallelogram">
            <a:avLst>
              <a:gd name="adj" fmla="val 42902"/>
            </a:avLst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11" name="TextBox 10">
            <a:extLst/>
          </p:cNvPr>
          <p:cNvSpPr txBox="1"/>
          <p:nvPr/>
        </p:nvSpPr>
        <p:spPr>
          <a:xfrm>
            <a:off x="293379" y="557831"/>
            <a:ext cx="9353188" cy="492443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>
              <a:defRPr sz="2600">
                <a:solidFill>
                  <a:srgbClr val="FFFFFF"/>
                </a:solidFill>
              </a:defRPr>
            </a:lvl1pPr>
          </a:lstStyle>
          <a:p>
            <a:r>
              <a:rPr lang="en-IN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 Remarketing Overview Today’s Process</a:t>
            </a:r>
          </a:p>
        </p:txBody>
      </p:sp>
      <p:pic>
        <p:nvPicPr>
          <p:cNvPr id="203" name="Picture 202"/>
          <p:cNvPicPr>
            <a:picLocks noChangeAspect="1"/>
          </p:cNvPicPr>
          <p:nvPr/>
        </p:nvPicPr>
        <p:blipFill rotWithShape="1">
          <a:blip r:embed="rId8"/>
          <a:srcRect t="7482" b="4391"/>
          <a:stretch/>
        </p:blipFill>
        <p:spPr>
          <a:xfrm>
            <a:off x="-33721" y="1733842"/>
            <a:ext cx="12222546" cy="3642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0495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9" descr="C:\Users\sunitha\Desktop\elementfleet-herolarge.jfif"/>
          <p:cNvPicPr>
            <a:picLocks noChangeAspect="1" noChangeArrowheads="1"/>
          </p:cNvPicPr>
          <p:nvPr/>
        </p:nvPicPr>
        <p:blipFill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" y="0"/>
            <a:ext cx="1218468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4143" y="0"/>
            <a:ext cx="12184682" cy="6858000"/>
          </a:xfrm>
          <a:prstGeom prst="rect">
            <a:avLst/>
          </a:prstGeom>
          <a:solidFill>
            <a:schemeClr val="tx1">
              <a:lumMod val="5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EAE87F-4EDD-4995-99BB-D58EC75700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45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EAE87F-4EDD-4995-99BB-D58EC75700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Parallelogram 35">
            <a:extLst>
              <a:ext uri="{FF2B5EF4-FFF2-40B4-BE49-F238E27FC236}">
                <a16:creationId xmlns:a16="http://schemas.microsoft.com/office/drawing/2014/main" id="{C28F7EDB-73D4-4363-8566-4A9FE696A895}"/>
              </a:ext>
            </a:extLst>
          </p:cNvPr>
          <p:cNvSpPr>
            <a:spLocks/>
          </p:cNvSpPr>
          <p:nvPr/>
        </p:nvSpPr>
        <p:spPr>
          <a:xfrm>
            <a:off x="-1920143" y="1803475"/>
            <a:ext cx="12544383" cy="3804204"/>
          </a:xfrm>
          <a:prstGeom prst="parallelogram">
            <a:avLst>
              <a:gd name="adj" fmla="val 43454"/>
            </a:avLst>
          </a:prstGeom>
          <a:solidFill>
            <a:schemeClr val="bg1">
              <a:alpha val="2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265"/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6EAD1F1-5F70-41BC-887C-808EF2910F44}"/>
              </a:ext>
            </a:extLst>
          </p:cNvPr>
          <p:cNvSpPr/>
          <p:nvPr/>
        </p:nvSpPr>
        <p:spPr>
          <a:xfrm>
            <a:off x="802599" y="3243912"/>
            <a:ext cx="81275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Future</a:t>
            </a:r>
            <a:endParaRPr lang="en-US" sz="5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biLevel thresh="25000"/>
          </a:blip>
          <a:stretch>
            <a:fillRect/>
          </a:stretch>
        </p:blipFill>
        <p:spPr>
          <a:xfrm>
            <a:off x="10967720" y="6386846"/>
            <a:ext cx="1154573" cy="46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6647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5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L5FwWzTe2mQfn_EqCf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L5FwWzTe2mQfn_EqCf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L5FwWzTe2mQfn_EqCf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D theme">
  <a:themeElements>
    <a:clrScheme name="Custom 6">
      <a:dk1>
        <a:srgbClr val="414141"/>
      </a:dk1>
      <a:lt1>
        <a:srgbClr val="FFFFFF"/>
      </a:lt1>
      <a:dk2>
        <a:srgbClr val="0F3263"/>
      </a:dk2>
      <a:lt2>
        <a:srgbClr val="3D71A0"/>
      </a:lt2>
      <a:accent1>
        <a:srgbClr val="81857B"/>
      </a:accent1>
      <a:accent2>
        <a:srgbClr val="1271BB"/>
      </a:accent2>
      <a:accent3>
        <a:srgbClr val="0E6D46"/>
      </a:accent3>
      <a:accent4>
        <a:srgbClr val="59124F"/>
      </a:accent4>
      <a:accent5>
        <a:srgbClr val="98153F"/>
      </a:accent5>
      <a:accent6>
        <a:srgbClr val="F48617"/>
      </a:accent6>
      <a:hlink>
        <a:srgbClr val="FFFFFF"/>
      </a:hlink>
      <a:folHlink>
        <a:srgbClr val="0F326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81</TotalTime>
  <Words>1342</Words>
  <Application>Microsoft Office PowerPoint</Application>
  <PresentationFormat>Custom</PresentationFormat>
  <Paragraphs>223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5" baseType="lpstr">
      <vt:lpstr>Arial</vt:lpstr>
      <vt:lpstr>Arial Narrow</vt:lpstr>
      <vt:lpstr>Calibri</vt:lpstr>
      <vt:lpstr>Cambria Math</vt:lpstr>
      <vt:lpstr>Kunstler Script</vt:lpstr>
      <vt:lpstr>Source Sans Pro Light</vt:lpstr>
      <vt:lpstr>Source Sans Pro Semibold</vt:lpstr>
      <vt:lpstr>Times New Roman</vt:lpstr>
      <vt:lpstr>Wingdings</vt:lpstr>
      <vt:lpstr>BoD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arns, Ilana (CAI - Atlanta)</dc:creator>
  <cp:lastModifiedBy>Fuchs, Sebastian</cp:lastModifiedBy>
  <cp:revision>729</cp:revision>
  <cp:lastPrinted>2017-07-11T02:05:02Z</cp:lastPrinted>
  <dcterms:modified xsi:type="dcterms:W3CDTF">2018-03-12T11:16:24Z</dcterms:modified>
</cp:coreProperties>
</file>